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modernComment_12A_4816E1CA.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5114" r:id="rId4"/>
  </p:sldMasterIdLst>
  <p:notesMasterIdLst>
    <p:notesMasterId r:id="rId93"/>
  </p:notesMasterIdLst>
  <p:handoutMasterIdLst>
    <p:handoutMasterId r:id="rId94"/>
  </p:handoutMasterIdLst>
  <p:sldIdLst>
    <p:sldId id="2147471292" r:id="rId5"/>
    <p:sldId id="2147471294" r:id="rId6"/>
    <p:sldId id="2147471295" r:id="rId7"/>
    <p:sldId id="2147471296" r:id="rId8"/>
    <p:sldId id="2147471299" r:id="rId9"/>
    <p:sldId id="2147471300" r:id="rId10"/>
    <p:sldId id="257" r:id="rId11"/>
    <p:sldId id="2147483645" r:id="rId12"/>
    <p:sldId id="268" r:id="rId13"/>
    <p:sldId id="269" r:id="rId14"/>
    <p:sldId id="299" r:id="rId15"/>
    <p:sldId id="267" r:id="rId16"/>
    <p:sldId id="265" r:id="rId17"/>
    <p:sldId id="263" r:id="rId18"/>
    <p:sldId id="264" r:id="rId19"/>
    <p:sldId id="2147483646" r:id="rId20"/>
    <p:sldId id="256" r:id="rId21"/>
    <p:sldId id="260" r:id="rId22"/>
    <p:sldId id="261" r:id="rId23"/>
    <p:sldId id="266" r:id="rId24"/>
    <p:sldId id="262" r:id="rId25"/>
    <p:sldId id="271" r:id="rId26"/>
    <p:sldId id="278" r:id="rId27"/>
    <p:sldId id="279" r:id="rId28"/>
    <p:sldId id="276" r:id="rId29"/>
    <p:sldId id="281" r:id="rId30"/>
    <p:sldId id="282" r:id="rId31"/>
    <p:sldId id="270" r:id="rId32"/>
    <p:sldId id="309" r:id="rId33"/>
    <p:sldId id="330" r:id="rId34"/>
    <p:sldId id="277" r:id="rId35"/>
    <p:sldId id="329" r:id="rId36"/>
    <p:sldId id="280" r:id="rId37"/>
    <p:sldId id="312" r:id="rId38"/>
    <p:sldId id="313" r:id="rId39"/>
    <p:sldId id="314" r:id="rId40"/>
    <p:sldId id="320" r:id="rId41"/>
    <p:sldId id="331" r:id="rId42"/>
    <p:sldId id="321" r:id="rId43"/>
    <p:sldId id="332" r:id="rId44"/>
    <p:sldId id="322" r:id="rId45"/>
    <p:sldId id="323" r:id="rId46"/>
    <p:sldId id="325" r:id="rId47"/>
    <p:sldId id="324" r:id="rId48"/>
    <p:sldId id="2147483647" r:id="rId49"/>
    <p:sldId id="287" r:id="rId50"/>
    <p:sldId id="289" r:id="rId51"/>
    <p:sldId id="291" r:id="rId52"/>
    <p:sldId id="304" r:id="rId53"/>
    <p:sldId id="288" r:id="rId54"/>
    <p:sldId id="305" r:id="rId55"/>
    <p:sldId id="307" r:id="rId56"/>
    <p:sldId id="308" r:id="rId57"/>
    <p:sldId id="306" r:id="rId58"/>
    <p:sldId id="283" r:id="rId59"/>
    <p:sldId id="315" r:id="rId60"/>
    <p:sldId id="285" r:id="rId61"/>
    <p:sldId id="292" r:id="rId62"/>
    <p:sldId id="293" r:id="rId63"/>
    <p:sldId id="294" r:id="rId64"/>
    <p:sldId id="310" r:id="rId65"/>
    <p:sldId id="317" r:id="rId66"/>
    <p:sldId id="295" r:id="rId67"/>
    <p:sldId id="302" r:id="rId68"/>
    <p:sldId id="303" r:id="rId69"/>
    <p:sldId id="300" r:id="rId70"/>
    <p:sldId id="334" r:id="rId71"/>
    <p:sldId id="258" r:id="rId72"/>
    <p:sldId id="311" r:id="rId73"/>
    <p:sldId id="333" r:id="rId74"/>
    <p:sldId id="327" r:id="rId75"/>
    <p:sldId id="328" r:id="rId76"/>
    <p:sldId id="319" r:id="rId77"/>
    <p:sldId id="316" r:id="rId78"/>
    <p:sldId id="284" r:id="rId79"/>
    <p:sldId id="286" r:id="rId80"/>
    <p:sldId id="2147480925" r:id="rId81"/>
    <p:sldId id="2147480934" r:id="rId82"/>
    <p:sldId id="2147481031" r:id="rId83"/>
    <p:sldId id="2147481023" r:id="rId84"/>
    <p:sldId id="2147481024" r:id="rId85"/>
    <p:sldId id="2147480932" r:id="rId86"/>
    <p:sldId id="2147480933" r:id="rId87"/>
    <p:sldId id="296" r:id="rId88"/>
    <p:sldId id="2147471554" r:id="rId89"/>
    <p:sldId id="290" r:id="rId90"/>
    <p:sldId id="297" r:id="rId91"/>
    <p:sldId id="298" r:id="rId92"/>
  </p:sldIdLst>
  <p:sldSz cx="12188825" cy="6858000"/>
  <p:notesSz cx="7010400" cy="9236075"/>
  <p:embeddedFontLst>
    <p:embeddedFont>
      <p:font typeface="Century Gothic" panose="020B0502020202020204" pitchFamily="34" charset="0"/>
      <p:regular r:id="rId95"/>
      <p:bold r:id="rId96"/>
      <p:italic r:id="rId97"/>
      <p:boldItalic r:id="rId98"/>
    </p:embeddedFont>
    <p:embeddedFont>
      <p:font typeface="ServiceNow Sans" panose="020B0604020202020204" charset="0"/>
      <p:regular r:id="rId99"/>
      <p:bold r:id="rId100"/>
      <p:italic r:id="rId101"/>
      <p:boldItalic r:id="rId102"/>
    </p:embeddedFont>
    <p:embeddedFont>
      <p:font typeface="ServiceNow Sans Bold" panose="020B0604020202020204" charset="0"/>
      <p:bold r:id="rId103"/>
      <p:italic r:id="rId104"/>
      <p:boldItalic r:id="rId105"/>
    </p:embeddedFont>
    <p:embeddedFont>
      <p:font typeface="ServiceNow Sans Light" panose="020B0604020202020204" charset="0"/>
      <p:regular r:id="rId106"/>
      <p:italic r:id="rId107"/>
    </p:embeddedFont>
    <p:embeddedFont>
      <p:font typeface="ServiceNow Sans Medium" panose="020B0604020202020204" charset="0"/>
      <p:regular r:id="rId108"/>
      <p:italic r:id="rId109"/>
    </p:embeddedFont>
  </p:embeddedFontLst>
  <p:custDataLst>
    <p:tags r:id="rId110"/>
  </p:custDataLst>
  <p:defaultTex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Hiring Experiences" id="{0F15A25E-7C8D-2F4F-AF8E-58D885F50AD5}">
          <p14:sldIdLst>
            <p14:sldId id="2147471292"/>
          </p14:sldIdLst>
        </p14:section>
        <p14:section name="User instructions" id="{68F5E0F3-EBD9-1141-8C0B-5E1E38E74BC8}">
          <p14:sldIdLst>
            <p14:sldId id="2147471294"/>
            <p14:sldId id="2147471295"/>
            <p14:sldId id="2147471296"/>
            <p14:sldId id="2147471299"/>
            <p14:sldId id="2147471300"/>
          </p14:sldIdLst>
        </p14:section>
        <p14:section name="Agenda" id="{4B032420-243E-1A46-813F-C4C1D4F6410B}">
          <p14:sldIdLst>
            <p14:sldId id="257"/>
            <p14:sldId id="2147483645"/>
            <p14:sldId id="268"/>
          </p14:sldIdLst>
        </p14:section>
        <p14:section name="Overview" id="{C77976D0-9242-C64F-99D9-806EFDD0B22C}">
          <p14:sldIdLst>
            <p14:sldId id="269"/>
            <p14:sldId id="299"/>
            <p14:sldId id="267"/>
            <p14:sldId id="265"/>
            <p14:sldId id="263"/>
          </p14:sldIdLst>
        </p14:section>
        <p14:section name="Hiring Core" id="{B19C7B58-3848-7A46-ADA6-31F6807A6D60}">
          <p14:sldIdLst>
            <p14:sldId id="264"/>
            <p14:sldId id="2147483646"/>
            <p14:sldId id="256"/>
            <p14:sldId id="260"/>
            <p14:sldId id="261"/>
            <p14:sldId id="266"/>
            <p14:sldId id="262"/>
            <p14:sldId id="271"/>
            <p14:sldId id="278"/>
            <p14:sldId id="279"/>
            <p14:sldId id="276"/>
            <p14:sldId id="281"/>
            <p14:sldId id="282"/>
            <p14:sldId id="270"/>
            <p14:sldId id="309"/>
            <p14:sldId id="330"/>
            <p14:sldId id="277"/>
            <p14:sldId id="329"/>
            <p14:sldId id="280"/>
            <p14:sldId id="312"/>
            <p14:sldId id="313"/>
            <p14:sldId id="314"/>
            <p14:sldId id="320"/>
            <p14:sldId id="331"/>
            <p14:sldId id="321"/>
            <p14:sldId id="332"/>
            <p14:sldId id="322"/>
            <p14:sldId id="323"/>
            <p14:sldId id="325"/>
            <p14:sldId id="324"/>
            <p14:sldId id="2147483647"/>
            <p14:sldId id="287"/>
            <p14:sldId id="289"/>
            <p14:sldId id="291"/>
            <p14:sldId id="304"/>
            <p14:sldId id="288"/>
            <p14:sldId id="305"/>
            <p14:sldId id="307"/>
            <p14:sldId id="308"/>
            <p14:sldId id="306"/>
            <p14:sldId id="283"/>
            <p14:sldId id="315"/>
            <p14:sldId id="285"/>
            <p14:sldId id="292"/>
            <p14:sldId id="293"/>
            <p14:sldId id="294"/>
            <p14:sldId id="310"/>
            <p14:sldId id="317"/>
            <p14:sldId id="295"/>
            <p14:sldId id="302"/>
            <p14:sldId id="303"/>
            <p14:sldId id="300"/>
            <p14:sldId id="334"/>
            <p14:sldId id="258"/>
            <p14:sldId id="311"/>
            <p14:sldId id="333"/>
            <p14:sldId id="327"/>
            <p14:sldId id="328"/>
            <p14:sldId id="319"/>
            <p14:sldId id="316"/>
            <p14:sldId id="284"/>
            <p14:sldId id="286"/>
            <p14:sldId id="2147480925"/>
            <p14:sldId id="2147480934"/>
            <p14:sldId id="2147481031"/>
            <p14:sldId id="2147481023"/>
            <p14:sldId id="2147481024"/>
            <p14:sldId id="2147480932"/>
            <p14:sldId id="2147480933"/>
          </p14:sldIdLst>
        </p14:section>
        <p14:section name="Wrap up and next steps" id="{74F99C54-2E00-2E4F-985A-34822E6425ED}">
          <p14:sldIdLst>
            <p14:sldId id="296"/>
            <p14:sldId id="2147471554"/>
            <p14:sldId id="290"/>
            <p14:sldId id="297"/>
          </p14:sldIdLst>
        </p14:section>
        <p14:section name="Appendix" id="{28FB8F95-C28B-9D4E-96BD-3B089D1D647D}">
          <p14:sldIdLst>
            <p14:sldId id="29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429" userDrawn="1">
          <p15:clr>
            <a:srgbClr val="A4A3A4"/>
          </p15:clr>
        </p15:guide>
        <p15:guide id="2" pos="26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33089F-E8A6-24C1-54EA-992C334D8A71}" name="Theresa Keeney" initials="TK" userId="S::theresa.keeney@servicenow.com::4745ffe2-4b50-4acb-8649-29e2f3009cae" providerId="AD"/>
  <p188:author id="{BBD5FAFC-D06D-EECF-FAE5-678610424275}" name="Jithin Thomas" initials="JT" userId="S::jithin.thomas@servicenow.com::ef6c92be-06f2-4075-bbcf-ed38216b51a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ie Doolittle" initials="ED [7]" lastIdx="1" clrIdx="0"/>
  <p:cmAuthor id="2" name="Emilie Doolittle" initials="ED [8]" lastIdx="1" clrIdx="1"/>
  <p:cmAuthor id="3" name="Emilie Doolittle" initials="ED [9]" lastIdx="1" clrIdx="2"/>
  <p:cmAuthor id="4" name="Emilie Doolittle" initials="ED [10]" lastIdx="1" clrIdx="3"/>
  <p:cmAuthor id="5" name="Emilie Doolittle" initials="ED [11]" lastIdx="1" clrIdx="4"/>
  <p:cmAuthor id="6" name="Emilie Doolittle" initials="ED [12]" lastIdx="1" clrIdx="5"/>
  <p:cmAuthor id="7" name="Emilie Doolittle" initials="ED [13]" lastIdx="1" clrIdx="6"/>
  <p:cmAuthor id="8" name="Emilie Doolittle" initials="ED" lastIdx="1" clrIdx="7"/>
  <p:cmAuthor id="9" name="Emilie Doolittle" initials="ED [2]" lastIdx="1" clrIdx="8"/>
  <p:cmAuthor id="10" name="Emilie Doolittle" initials="ED [3]" lastIdx="1" clrIdx="9"/>
  <p:cmAuthor id="11" name="Emilie Doolittle" initials="ED [4]" lastIdx="1" clrIdx="10"/>
  <p:cmAuthor id="12" name="Emilie Doolittle" initials="ED [5]" lastIdx="1" clrIdx="11"/>
  <p:cmAuthor id="13" name="Emilie Doolittle" initials="ED [6]" lastIdx="1" clrIdx="12"/>
  <p:cmAuthor id="14" name="Emilie Doolittle" initials="ED [14]" lastIdx="1" clrIdx="13"/>
  <p:cmAuthor id="15" name="Emilie Doolittle" initials="ED [15]" lastIdx="1" clrIdx="14"/>
  <p:cmAuthor id="16" name="Emilie Doolittle" initials="ED [16]" lastIdx="1" clrIdx="15"/>
  <p:cmAuthor id="17" name="Emilie Doolittle" initials="ED [17]" lastIdx="1" clrIdx="16"/>
  <p:cmAuthor id="18" name="John Reed" initials="JR" lastIdx="1" clrIdx="17">
    <p:extLst>
      <p:ext uri="{19B8F6BF-5375-455C-9EA6-DF929625EA0E}">
        <p15:presenceInfo xmlns:p15="http://schemas.microsoft.com/office/powerpoint/2012/main" userId="1e13c43c9d9f05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DF4E"/>
    <a:srgbClr val="BDBAFD"/>
    <a:srgbClr val="C2E6FF"/>
    <a:srgbClr val="DEFFD9"/>
    <a:srgbClr val="537489"/>
    <a:srgbClr val="4A6F7C"/>
    <a:srgbClr val="456781"/>
    <a:srgbClr val="2A4F62"/>
    <a:srgbClr val="30596E"/>
    <a:srgbClr val="2A50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87"/>
    <p:restoredTop sz="88049"/>
  </p:normalViewPr>
  <p:slideViewPr>
    <p:cSldViewPr snapToGrid="0">
      <p:cViewPr varScale="1">
        <p:scale>
          <a:sx n="100" d="100"/>
          <a:sy n="100" d="100"/>
        </p:scale>
        <p:origin x="1392" y="46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429"/>
        <p:guide pos="26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microsoft.com/office/2018/10/relationships/authors" Target="author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font" Target="fonts/font13.fntdata"/><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font" Target="fonts/font8.fntdata"/><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font" Target="fonts/font1.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font" Target="fonts/font9.fntdata"/><Relationship Id="rId108" Type="http://schemas.openxmlformats.org/officeDocument/2006/relationships/font" Target="fonts/font14.fntdata"/><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font" Target="fonts/font5.fntdata"/><Relationship Id="rId10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font" Target="fonts/font15.fntdata"/><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3.fntdata"/><Relationship Id="rId104" Type="http://schemas.openxmlformats.org/officeDocument/2006/relationships/font" Target="fonts/font10.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gs" Target="tags/tag1.xml"/><Relationship Id="rId115"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font" Target="fonts/font6.fntdata"/><Relationship Id="rId105" Type="http://schemas.openxmlformats.org/officeDocument/2006/relationships/font" Target="fonts/font11.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notesMaster" Target="notesMasters/notesMaster1.xml"/><Relationship Id="rId98" Type="http://schemas.openxmlformats.org/officeDocument/2006/relationships/font" Target="fonts/font4.fntdata"/><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commentAuthors" Target="commentAuthor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font" Target="fonts/font1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eresa Keeney" userId="4745ffe2-4b50-4acb-8649-29e2f3009cae" providerId="ADAL" clId="{FF619854-36AB-5EBF-9E5D-98EFA49D418E}"/>
    <pc:docChg chg="undo redo custSel addSld delSld modSld sldOrd addSection delSection modSection">
      <pc:chgData name="Theresa Keeney" userId="4745ffe2-4b50-4acb-8649-29e2f3009cae" providerId="ADAL" clId="{FF619854-36AB-5EBF-9E5D-98EFA49D418E}" dt="2025-11-24T23:59:20.436" v="16707" actId="478"/>
      <pc:docMkLst>
        <pc:docMk/>
      </pc:docMkLst>
      <pc:sldChg chg="addSp delSp modSp add mod">
        <pc:chgData name="Theresa Keeney" userId="4745ffe2-4b50-4acb-8649-29e2f3009cae" providerId="ADAL" clId="{FF619854-36AB-5EBF-9E5D-98EFA49D418E}" dt="2025-11-24T23:46:59.024" v="16526" actId="478"/>
        <pc:sldMkLst>
          <pc:docMk/>
          <pc:sldMk cId="664881370" sldId="256"/>
        </pc:sldMkLst>
      </pc:sldChg>
      <pc:sldChg chg="addSp delSp modSp mod ord">
        <pc:chgData name="Theresa Keeney" userId="4745ffe2-4b50-4acb-8649-29e2f3009cae" providerId="ADAL" clId="{FF619854-36AB-5EBF-9E5D-98EFA49D418E}" dt="2025-11-24T23:45:11.779" v="16517" actId="478"/>
        <pc:sldMkLst>
          <pc:docMk/>
          <pc:sldMk cId="1791009582" sldId="257"/>
        </pc:sldMkLst>
      </pc:sldChg>
      <pc:sldChg chg="addSp delSp modSp mod">
        <pc:chgData name="Theresa Keeney" userId="4745ffe2-4b50-4acb-8649-29e2f3009cae" providerId="ADAL" clId="{FF619854-36AB-5EBF-9E5D-98EFA49D418E}" dt="2025-11-24T23:57:54.513" v="16681" actId="478"/>
        <pc:sldMkLst>
          <pc:docMk/>
          <pc:sldMk cId="817628832" sldId="258"/>
        </pc:sldMkLst>
      </pc:sldChg>
      <pc:sldChg chg="addSp delSp modSp add mod">
        <pc:chgData name="Theresa Keeney" userId="4745ffe2-4b50-4acb-8649-29e2f3009cae" providerId="ADAL" clId="{FF619854-36AB-5EBF-9E5D-98EFA49D418E}" dt="2025-11-24T23:47:02.492" v="16527" actId="478"/>
        <pc:sldMkLst>
          <pc:docMk/>
          <pc:sldMk cId="3689133857" sldId="260"/>
        </pc:sldMkLst>
      </pc:sldChg>
      <pc:sldChg chg="addSp delSp modSp add mod modNotesTx">
        <pc:chgData name="Theresa Keeney" userId="4745ffe2-4b50-4acb-8649-29e2f3009cae" providerId="ADAL" clId="{FF619854-36AB-5EBF-9E5D-98EFA49D418E}" dt="2025-11-24T23:47:09.465" v="16528" actId="478"/>
        <pc:sldMkLst>
          <pc:docMk/>
          <pc:sldMk cId="3804882809" sldId="261"/>
        </pc:sldMkLst>
      </pc:sldChg>
      <pc:sldChg chg="addSp delSp modSp add mod">
        <pc:chgData name="Theresa Keeney" userId="4745ffe2-4b50-4acb-8649-29e2f3009cae" providerId="ADAL" clId="{FF619854-36AB-5EBF-9E5D-98EFA49D418E}" dt="2025-11-24T23:46:46.122" v="16521" actId="478"/>
        <pc:sldMkLst>
          <pc:docMk/>
          <pc:sldMk cId="1613770932" sldId="263"/>
        </pc:sldMkLst>
      </pc:sldChg>
      <pc:sldChg chg="addSp delSp modSp add mod">
        <pc:chgData name="Theresa Keeney" userId="4745ffe2-4b50-4acb-8649-29e2f3009cae" providerId="ADAL" clId="{FF619854-36AB-5EBF-9E5D-98EFA49D418E}" dt="2025-11-24T23:46:49.856" v="16522" actId="478"/>
        <pc:sldMkLst>
          <pc:docMk/>
          <pc:sldMk cId="2694016156" sldId="264"/>
        </pc:sldMkLst>
      </pc:sldChg>
      <pc:sldChg chg="addSp delSp modSp add mod ord">
        <pc:chgData name="Theresa Keeney" userId="4745ffe2-4b50-4acb-8649-29e2f3009cae" providerId="ADAL" clId="{FF619854-36AB-5EBF-9E5D-98EFA49D418E}" dt="2025-11-24T23:46:41.403" v="16519" actId="478"/>
        <pc:sldMkLst>
          <pc:docMk/>
          <pc:sldMk cId="2811306165" sldId="265"/>
        </pc:sldMkLst>
      </pc:sldChg>
      <pc:sldChg chg="addSp delSp modSp add mod modNotesTx">
        <pc:chgData name="Theresa Keeney" userId="4745ffe2-4b50-4acb-8649-29e2f3009cae" providerId="ADAL" clId="{FF619854-36AB-5EBF-9E5D-98EFA49D418E}" dt="2025-11-24T23:47:13.325" v="16530" actId="478"/>
        <pc:sldMkLst>
          <pc:docMk/>
          <pc:sldMk cId="2925748306" sldId="266"/>
        </pc:sldMkLst>
      </pc:sldChg>
      <pc:sldChg chg="addSp delSp modSp add mod modNotesTx">
        <pc:chgData name="Theresa Keeney" userId="4745ffe2-4b50-4acb-8649-29e2f3009cae" providerId="ADAL" clId="{FF619854-36AB-5EBF-9E5D-98EFA49D418E}" dt="2025-11-24T23:50:01.803" v="16565" actId="478"/>
        <pc:sldMkLst>
          <pc:docMk/>
          <pc:sldMk cId="533090875" sldId="270"/>
        </pc:sldMkLst>
      </pc:sldChg>
      <pc:sldChg chg="addSp delSp modSp add mod">
        <pc:chgData name="Theresa Keeney" userId="4745ffe2-4b50-4acb-8649-29e2f3009cae" providerId="ADAL" clId="{FF619854-36AB-5EBF-9E5D-98EFA49D418E}" dt="2025-11-24T23:47:18.422" v="16531" actId="478"/>
        <pc:sldMkLst>
          <pc:docMk/>
          <pc:sldMk cId="3727598220" sldId="271"/>
        </pc:sldMkLst>
      </pc:sldChg>
      <pc:sldChg chg="addSp delSp modSp add mod ord">
        <pc:chgData name="Theresa Keeney" userId="4745ffe2-4b50-4acb-8649-29e2f3009cae" providerId="ADAL" clId="{FF619854-36AB-5EBF-9E5D-98EFA49D418E}" dt="2025-11-24T23:47:38.733" v="16542" actId="478"/>
        <pc:sldMkLst>
          <pc:docMk/>
          <pc:sldMk cId="262715862" sldId="276"/>
        </pc:sldMkLst>
      </pc:sldChg>
      <pc:sldChg chg="addSp delSp modSp add mod ord">
        <pc:chgData name="Theresa Keeney" userId="4745ffe2-4b50-4acb-8649-29e2f3009cae" providerId="ADAL" clId="{FF619854-36AB-5EBF-9E5D-98EFA49D418E}" dt="2025-11-24T23:50:27.036" v="16572" actId="478"/>
        <pc:sldMkLst>
          <pc:docMk/>
          <pc:sldMk cId="3169169623" sldId="277"/>
        </pc:sldMkLst>
      </pc:sldChg>
      <pc:sldChg chg="addSp delSp modSp add mod">
        <pc:chgData name="Theresa Keeney" userId="4745ffe2-4b50-4acb-8649-29e2f3009cae" providerId="ADAL" clId="{FF619854-36AB-5EBF-9E5D-98EFA49D418E}" dt="2025-11-24T23:47:23.811" v="16533" actId="478"/>
        <pc:sldMkLst>
          <pc:docMk/>
          <pc:sldMk cId="270485983" sldId="278"/>
        </pc:sldMkLst>
      </pc:sldChg>
      <pc:sldChg chg="addSp delSp modSp add mod">
        <pc:chgData name="Theresa Keeney" userId="4745ffe2-4b50-4acb-8649-29e2f3009cae" providerId="ADAL" clId="{FF619854-36AB-5EBF-9E5D-98EFA49D418E}" dt="2025-11-24T23:47:29.844" v="16537" actId="478"/>
        <pc:sldMkLst>
          <pc:docMk/>
          <pc:sldMk cId="3649362828" sldId="279"/>
        </pc:sldMkLst>
      </pc:sldChg>
      <pc:sldChg chg="addSp delSp modSp add mod ord">
        <pc:chgData name="Theresa Keeney" userId="4745ffe2-4b50-4acb-8649-29e2f3009cae" providerId="ADAL" clId="{FF619854-36AB-5EBF-9E5D-98EFA49D418E}" dt="2025-11-24T23:51:00.948" v="16576" actId="478"/>
        <pc:sldMkLst>
          <pc:docMk/>
          <pc:sldMk cId="1338668981" sldId="280"/>
        </pc:sldMkLst>
      </pc:sldChg>
      <pc:sldChg chg="addSp delSp modSp add mod ord">
        <pc:chgData name="Theresa Keeney" userId="4745ffe2-4b50-4acb-8649-29e2f3009cae" providerId="ADAL" clId="{FF619854-36AB-5EBF-9E5D-98EFA49D418E}" dt="2025-11-24T23:47:44.855" v="16546" actId="478"/>
        <pc:sldMkLst>
          <pc:docMk/>
          <pc:sldMk cId="27987175" sldId="281"/>
        </pc:sldMkLst>
      </pc:sldChg>
      <pc:sldChg chg="addSp delSp modSp add mod">
        <pc:chgData name="Theresa Keeney" userId="4745ffe2-4b50-4acb-8649-29e2f3009cae" providerId="ADAL" clId="{FF619854-36AB-5EBF-9E5D-98EFA49D418E}" dt="2025-11-24T23:47:49.405" v="16548" actId="478"/>
        <pc:sldMkLst>
          <pc:docMk/>
          <pc:sldMk cId="433299104" sldId="282"/>
        </pc:sldMkLst>
      </pc:sldChg>
      <pc:sldChg chg="addSp delSp modSp add mod">
        <pc:chgData name="Theresa Keeney" userId="4745ffe2-4b50-4acb-8649-29e2f3009cae" providerId="ADAL" clId="{FF619854-36AB-5EBF-9E5D-98EFA49D418E}" dt="2025-11-24T23:55:18.190" v="16642" actId="478"/>
        <pc:sldMkLst>
          <pc:docMk/>
          <pc:sldMk cId="702913885" sldId="283"/>
        </pc:sldMkLst>
      </pc:sldChg>
      <pc:sldChg chg="addSp delSp modSp add mod">
        <pc:chgData name="Theresa Keeney" userId="4745ffe2-4b50-4acb-8649-29e2f3009cae" providerId="ADAL" clId="{FF619854-36AB-5EBF-9E5D-98EFA49D418E}" dt="2025-11-24T23:58:40.396" v="16699" actId="478"/>
        <pc:sldMkLst>
          <pc:docMk/>
          <pc:sldMk cId="3176306791" sldId="284"/>
        </pc:sldMkLst>
      </pc:sldChg>
      <pc:sldChg chg="addSp delSp modSp add mod">
        <pc:chgData name="Theresa Keeney" userId="4745ffe2-4b50-4acb-8649-29e2f3009cae" providerId="ADAL" clId="{FF619854-36AB-5EBF-9E5D-98EFA49D418E}" dt="2025-11-24T23:55:45.005" v="16649" actId="478"/>
        <pc:sldMkLst>
          <pc:docMk/>
          <pc:sldMk cId="2584204427" sldId="285"/>
        </pc:sldMkLst>
      </pc:sldChg>
      <pc:sldChg chg="addSp delSp modSp add mod">
        <pc:chgData name="Theresa Keeney" userId="4745ffe2-4b50-4acb-8649-29e2f3009cae" providerId="ADAL" clId="{FF619854-36AB-5EBF-9E5D-98EFA49D418E}" dt="2025-11-24T23:58:45.790" v="16701" actId="478"/>
        <pc:sldMkLst>
          <pc:docMk/>
          <pc:sldMk cId="1789798842" sldId="286"/>
        </pc:sldMkLst>
      </pc:sldChg>
      <pc:sldChg chg="addSp delSp modSp add mod">
        <pc:chgData name="Theresa Keeney" userId="4745ffe2-4b50-4acb-8649-29e2f3009cae" providerId="ADAL" clId="{FF619854-36AB-5EBF-9E5D-98EFA49D418E}" dt="2025-11-24T23:52:38.657" v="16618" actId="478"/>
        <pc:sldMkLst>
          <pc:docMk/>
          <pc:sldMk cId="3807165620" sldId="287"/>
        </pc:sldMkLst>
      </pc:sldChg>
      <pc:sldChg chg="addSp delSp modSp add mod ord">
        <pc:chgData name="Theresa Keeney" userId="4745ffe2-4b50-4acb-8649-29e2f3009cae" providerId="ADAL" clId="{FF619854-36AB-5EBF-9E5D-98EFA49D418E}" dt="2025-11-24T23:54:33.579" v="16628" actId="478"/>
        <pc:sldMkLst>
          <pc:docMk/>
          <pc:sldMk cId="525190870" sldId="288"/>
        </pc:sldMkLst>
      </pc:sldChg>
      <pc:sldChg chg="addSp delSp modSp add mod">
        <pc:chgData name="Theresa Keeney" userId="4745ffe2-4b50-4acb-8649-29e2f3009cae" providerId="ADAL" clId="{FF619854-36AB-5EBF-9E5D-98EFA49D418E}" dt="2025-11-24T23:54:01.637" v="16620" actId="478"/>
        <pc:sldMkLst>
          <pc:docMk/>
          <pc:sldMk cId="3973805266" sldId="289"/>
        </pc:sldMkLst>
      </pc:sldChg>
      <pc:sldChg chg="addSp delSp modSp add mod ord modNotesTx">
        <pc:chgData name="Theresa Keeney" userId="4745ffe2-4b50-4acb-8649-29e2f3009cae" providerId="ADAL" clId="{FF619854-36AB-5EBF-9E5D-98EFA49D418E}" dt="2025-11-24T23:54:23.466" v="16623" actId="478"/>
        <pc:sldMkLst>
          <pc:docMk/>
          <pc:sldMk cId="2733790652" sldId="291"/>
        </pc:sldMkLst>
      </pc:sldChg>
      <pc:sldChg chg="addSp delSp modSp add mod">
        <pc:chgData name="Theresa Keeney" userId="4745ffe2-4b50-4acb-8649-29e2f3009cae" providerId="ADAL" clId="{FF619854-36AB-5EBF-9E5D-98EFA49D418E}" dt="2025-11-24T23:55:51.921" v="16651" actId="478"/>
        <pc:sldMkLst>
          <pc:docMk/>
          <pc:sldMk cId="3324494574" sldId="292"/>
        </pc:sldMkLst>
      </pc:sldChg>
      <pc:sldChg chg="addSp delSp modSp add mod modNotesTx">
        <pc:chgData name="Theresa Keeney" userId="4745ffe2-4b50-4acb-8649-29e2f3009cae" providerId="ADAL" clId="{FF619854-36AB-5EBF-9E5D-98EFA49D418E}" dt="2025-11-24T23:56:49.137" v="16655" actId="478"/>
        <pc:sldMkLst>
          <pc:docMk/>
          <pc:sldMk cId="4154306706" sldId="293"/>
        </pc:sldMkLst>
      </pc:sldChg>
      <pc:sldChg chg="addSp delSp modSp add mod">
        <pc:chgData name="Theresa Keeney" userId="4745ffe2-4b50-4acb-8649-29e2f3009cae" providerId="ADAL" clId="{FF619854-36AB-5EBF-9E5D-98EFA49D418E}" dt="2025-11-24T23:56:58.688" v="16659" actId="478"/>
        <pc:sldMkLst>
          <pc:docMk/>
          <pc:sldMk cId="4038248417" sldId="294"/>
        </pc:sldMkLst>
      </pc:sldChg>
      <pc:sldChg chg="addSp delSp modSp add mod ord modNotesTx">
        <pc:chgData name="Theresa Keeney" userId="4745ffe2-4b50-4acb-8649-29e2f3009cae" providerId="ADAL" clId="{FF619854-36AB-5EBF-9E5D-98EFA49D418E}" dt="2025-11-24T23:57:22.575" v="16668" actId="478"/>
        <pc:sldMkLst>
          <pc:docMk/>
          <pc:sldMk cId="1430984181" sldId="295"/>
        </pc:sldMkLst>
      </pc:sldChg>
      <pc:sldChg chg="addSp delSp modSp add mod">
        <pc:chgData name="Theresa Keeney" userId="4745ffe2-4b50-4acb-8649-29e2f3009cae" providerId="ADAL" clId="{FF619854-36AB-5EBF-9E5D-98EFA49D418E}" dt="2025-11-24T23:59:08.200" v="16703" actId="478"/>
        <pc:sldMkLst>
          <pc:docMk/>
          <pc:sldMk cId="685307350" sldId="296"/>
        </pc:sldMkLst>
      </pc:sldChg>
      <pc:sldChg chg="addSp delSp modSp add mod">
        <pc:chgData name="Theresa Keeney" userId="4745ffe2-4b50-4acb-8649-29e2f3009cae" providerId="ADAL" clId="{FF619854-36AB-5EBF-9E5D-98EFA49D418E}" dt="2025-11-24T23:59:20.436" v="16707" actId="478"/>
        <pc:sldMkLst>
          <pc:docMk/>
          <pc:sldMk cId="1209459146" sldId="298"/>
        </pc:sldMkLst>
      </pc:sldChg>
      <pc:sldChg chg="addSp delSp modSp add mod">
        <pc:chgData name="Theresa Keeney" userId="4745ffe2-4b50-4acb-8649-29e2f3009cae" providerId="ADAL" clId="{FF619854-36AB-5EBF-9E5D-98EFA49D418E}" dt="2025-11-24T23:45:52.135" v="16518" actId="478"/>
        <pc:sldMkLst>
          <pc:docMk/>
          <pc:sldMk cId="2583912829" sldId="299"/>
        </pc:sldMkLst>
      </pc:sldChg>
      <pc:sldChg chg="addSp delSp modSp add mod">
        <pc:chgData name="Theresa Keeney" userId="4745ffe2-4b50-4acb-8649-29e2f3009cae" providerId="ADAL" clId="{FF619854-36AB-5EBF-9E5D-98EFA49D418E}" dt="2025-11-24T23:57:42.926" v="16677" actId="478"/>
        <pc:sldMkLst>
          <pc:docMk/>
          <pc:sldMk cId="2887099806" sldId="300"/>
        </pc:sldMkLst>
      </pc:sldChg>
      <pc:sldChg chg="addSp delSp modSp add mod">
        <pc:chgData name="Theresa Keeney" userId="4745ffe2-4b50-4acb-8649-29e2f3009cae" providerId="ADAL" clId="{FF619854-36AB-5EBF-9E5D-98EFA49D418E}" dt="2025-11-24T23:57:31.982" v="16673" actId="478"/>
        <pc:sldMkLst>
          <pc:docMk/>
          <pc:sldMk cId="1383728816" sldId="302"/>
        </pc:sldMkLst>
      </pc:sldChg>
      <pc:sldChg chg="addSp delSp modSp add mod">
        <pc:chgData name="Theresa Keeney" userId="4745ffe2-4b50-4acb-8649-29e2f3009cae" providerId="ADAL" clId="{FF619854-36AB-5EBF-9E5D-98EFA49D418E}" dt="2025-11-24T23:57:38.725" v="16675" actId="478"/>
        <pc:sldMkLst>
          <pc:docMk/>
          <pc:sldMk cId="1562549507" sldId="303"/>
        </pc:sldMkLst>
      </pc:sldChg>
      <pc:sldChg chg="addSp delSp modSp add mod modNotesTx">
        <pc:chgData name="Theresa Keeney" userId="4745ffe2-4b50-4acb-8649-29e2f3009cae" providerId="ADAL" clId="{FF619854-36AB-5EBF-9E5D-98EFA49D418E}" dt="2025-11-24T23:54:29.133" v="16626" actId="478"/>
        <pc:sldMkLst>
          <pc:docMk/>
          <pc:sldMk cId="1051688838" sldId="304"/>
        </pc:sldMkLst>
      </pc:sldChg>
      <pc:sldChg chg="addSp delSp modSp add mod modNotesTx">
        <pc:chgData name="Theresa Keeney" userId="4745ffe2-4b50-4acb-8649-29e2f3009cae" providerId="ADAL" clId="{FF619854-36AB-5EBF-9E5D-98EFA49D418E}" dt="2025-11-24T23:54:39.206" v="16630" actId="478"/>
        <pc:sldMkLst>
          <pc:docMk/>
          <pc:sldMk cId="483752635" sldId="305"/>
        </pc:sldMkLst>
      </pc:sldChg>
      <pc:sldChg chg="addSp delSp modSp add mod modNotesTx">
        <pc:chgData name="Theresa Keeney" userId="4745ffe2-4b50-4acb-8649-29e2f3009cae" providerId="ADAL" clId="{FF619854-36AB-5EBF-9E5D-98EFA49D418E}" dt="2025-11-24T23:55:11.725" v="16639" actId="478"/>
        <pc:sldMkLst>
          <pc:docMk/>
          <pc:sldMk cId="1316154672" sldId="306"/>
        </pc:sldMkLst>
        <pc:spChg chg="mod">
          <ac:chgData name="Theresa Keeney" userId="4745ffe2-4b50-4acb-8649-29e2f3009cae" providerId="ADAL" clId="{FF619854-36AB-5EBF-9E5D-98EFA49D418E}" dt="2025-11-24T23:55:02.487" v="16638" actId="5793"/>
          <ac:spMkLst>
            <pc:docMk/>
            <pc:sldMk cId="1316154672" sldId="306"/>
            <ac:spMk id="12" creationId="{34FD586D-48DB-B811-3BEB-E6CEEF9854E8}"/>
          </ac:spMkLst>
        </pc:spChg>
      </pc:sldChg>
      <pc:sldChg chg="addSp delSp modSp add mod modNotesTx">
        <pc:chgData name="Theresa Keeney" userId="4745ffe2-4b50-4acb-8649-29e2f3009cae" providerId="ADAL" clId="{FF619854-36AB-5EBF-9E5D-98EFA49D418E}" dt="2025-11-24T23:54:45.536" v="16632" actId="478"/>
        <pc:sldMkLst>
          <pc:docMk/>
          <pc:sldMk cId="3328788586" sldId="307"/>
        </pc:sldMkLst>
      </pc:sldChg>
      <pc:sldChg chg="addSp delSp modSp add mod ord modNotesTx">
        <pc:chgData name="Theresa Keeney" userId="4745ffe2-4b50-4acb-8649-29e2f3009cae" providerId="ADAL" clId="{FF619854-36AB-5EBF-9E5D-98EFA49D418E}" dt="2025-11-24T23:54:55.940" v="16636" actId="478"/>
        <pc:sldMkLst>
          <pc:docMk/>
          <pc:sldMk cId="2391591373" sldId="308"/>
        </pc:sldMkLst>
      </pc:sldChg>
      <pc:sldChg chg="addSp delSp modSp add mod modNotesTx">
        <pc:chgData name="Theresa Keeney" userId="4745ffe2-4b50-4acb-8649-29e2f3009cae" providerId="ADAL" clId="{FF619854-36AB-5EBF-9E5D-98EFA49D418E}" dt="2025-11-24T23:50:05.813" v="16567" actId="478"/>
        <pc:sldMkLst>
          <pc:docMk/>
          <pc:sldMk cId="3971041320" sldId="309"/>
        </pc:sldMkLst>
      </pc:sldChg>
      <pc:sldChg chg="addSp delSp modSp add mod ord">
        <pc:chgData name="Theresa Keeney" userId="4745ffe2-4b50-4acb-8649-29e2f3009cae" providerId="ADAL" clId="{FF619854-36AB-5EBF-9E5D-98EFA49D418E}" dt="2025-11-24T23:57:11.250" v="16663" actId="478"/>
        <pc:sldMkLst>
          <pc:docMk/>
          <pc:sldMk cId="1941463196" sldId="310"/>
        </pc:sldMkLst>
      </pc:sldChg>
      <pc:sldChg chg="addSp delSp modSp add mod">
        <pc:chgData name="Theresa Keeney" userId="4745ffe2-4b50-4acb-8649-29e2f3009cae" providerId="ADAL" clId="{FF619854-36AB-5EBF-9E5D-98EFA49D418E}" dt="2025-11-24T23:58:00.919" v="16684" actId="478"/>
        <pc:sldMkLst>
          <pc:docMk/>
          <pc:sldMk cId="262958701" sldId="311"/>
        </pc:sldMkLst>
      </pc:sldChg>
      <pc:sldChg chg="addSp delSp modSp add mod ord">
        <pc:chgData name="Theresa Keeney" userId="4745ffe2-4b50-4acb-8649-29e2f3009cae" providerId="ADAL" clId="{FF619854-36AB-5EBF-9E5D-98EFA49D418E}" dt="2025-11-24T23:51:07.297" v="16578" actId="478"/>
        <pc:sldMkLst>
          <pc:docMk/>
          <pc:sldMk cId="3449195068" sldId="312"/>
        </pc:sldMkLst>
      </pc:sldChg>
      <pc:sldChg chg="addSp delSp modSp add mod">
        <pc:chgData name="Theresa Keeney" userId="4745ffe2-4b50-4acb-8649-29e2f3009cae" providerId="ADAL" clId="{FF619854-36AB-5EBF-9E5D-98EFA49D418E}" dt="2025-11-24T23:51:12.182" v="16581" actId="478"/>
        <pc:sldMkLst>
          <pc:docMk/>
          <pc:sldMk cId="2342619048" sldId="313"/>
        </pc:sldMkLst>
      </pc:sldChg>
      <pc:sldChg chg="addSp delSp modSp add mod">
        <pc:chgData name="Theresa Keeney" userId="4745ffe2-4b50-4acb-8649-29e2f3009cae" providerId="ADAL" clId="{FF619854-36AB-5EBF-9E5D-98EFA49D418E}" dt="2025-11-24T23:51:19.041" v="16583" actId="478"/>
        <pc:sldMkLst>
          <pc:docMk/>
          <pc:sldMk cId="2889707747" sldId="314"/>
        </pc:sldMkLst>
      </pc:sldChg>
      <pc:sldChg chg="addSp delSp modSp add mod">
        <pc:chgData name="Theresa Keeney" userId="4745ffe2-4b50-4acb-8649-29e2f3009cae" providerId="ADAL" clId="{FF619854-36AB-5EBF-9E5D-98EFA49D418E}" dt="2025-11-24T23:55:25.682" v="16644" actId="478"/>
        <pc:sldMkLst>
          <pc:docMk/>
          <pc:sldMk cId="2538727752" sldId="315"/>
        </pc:sldMkLst>
      </pc:sldChg>
      <pc:sldChg chg="addSp delSp modSp add mod">
        <pc:chgData name="Theresa Keeney" userId="4745ffe2-4b50-4acb-8649-29e2f3009cae" providerId="ADAL" clId="{FF619854-36AB-5EBF-9E5D-98EFA49D418E}" dt="2025-11-24T23:58:33.934" v="16697" actId="478"/>
        <pc:sldMkLst>
          <pc:docMk/>
          <pc:sldMk cId="41814602" sldId="316"/>
        </pc:sldMkLst>
      </pc:sldChg>
      <pc:sldChg chg="addSp delSp modSp add mod ord">
        <pc:chgData name="Theresa Keeney" userId="4745ffe2-4b50-4acb-8649-29e2f3009cae" providerId="ADAL" clId="{FF619854-36AB-5EBF-9E5D-98EFA49D418E}" dt="2025-11-24T23:57:17.031" v="16666" actId="478"/>
        <pc:sldMkLst>
          <pc:docMk/>
          <pc:sldMk cId="1816311408" sldId="317"/>
        </pc:sldMkLst>
      </pc:sldChg>
      <pc:sldChg chg="addSp delSp modSp add mod ord">
        <pc:chgData name="Theresa Keeney" userId="4745ffe2-4b50-4acb-8649-29e2f3009cae" providerId="ADAL" clId="{FF619854-36AB-5EBF-9E5D-98EFA49D418E}" dt="2025-11-24T23:58:26.809" v="16694" actId="478"/>
        <pc:sldMkLst>
          <pc:docMk/>
          <pc:sldMk cId="1077920806" sldId="319"/>
        </pc:sldMkLst>
      </pc:sldChg>
      <pc:sldChg chg="addSp delSp modSp add mod">
        <pc:chgData name="Theresa Keeney" userId="4745ffe2-4b50-4acb-8649-29e2f3009cae" providerId="ADAL" clId="{FF619854-36AB-5EBF-9E5D-98EFA49D418E}" dt="2025-11-24T23:51:25.033" v="16587" actId="478"/>
        <pc:sldMkLst>
          <pc:docMk/>
          <pc:sldMk cId="1403548728" sldId="320"/>
        </pc:sldMkLst>
      </pc:sldChg>
      <pc:sldChg chg="addSp delSp modSp add mod ord">
        <pc:chgData name="Theresa Keeney" userId="4745ffe2-4b50-4acb-8649-29e2f3009cae" providerId="ADAL" clId="{FF619854-36AB-5EBF-9E5D-98EFA49D418E}" dt="2025-11-24T23:51:37.566" v="16591" actId="478"/>
        <pc:sldMkLst>
          <pc:docMk/>
          <pc:sldMk cId="3670380688" sldId="321"/>
        </pc:sldMkLst>
      </pc:sldChg>
      <pc:sldChg chg="addSp delSp modSp add mod">
        <pc:chgData name="Theresa Keeney" userId="4745ffe2-4b50-4acb-8649-29e2f3009cae" providerId="ADAL" clId="{FF619854-36AB-5EBF-9E5D-98EFA49D418E}" dt="2025-11-24T23:51:47.739" v="16595" actId="478"/>
        <pc:sldMkLst>
          <pc:docMk/>
          <pc:sldMk cId="3977386622" sldId="322"/>
        </pc:sldMkLst>
      </pc:sldChg>
      <pc:sldChg chg="addSp delSp modSp add mod">
        <pc:chgData name="Theresa Keeney" userId="4745ffe2-4b50-4acb-8649-29e2f3009cae" providerId="ADAL" clId="{FF619854-36AB-5EBF-9E5D-98EFA49D418E}" dt="2025-11-24T23:51:52.467" v="16598" actId="478"/>
        <pc:sldMkLst>
          <pc:docMk/>
          <pc:sldMk cId="3231615942" sldId="323"/>
        </pc:sldMkLst>
      </pc:sldChg>
      <pc:sldChg chg="addSp delSp modSp add mod">
        <pc:chgData name="Theresa Keeney" userId="4745ffe2-4b50-4acb-8649-29e2f3009cae" providerId="ADAL" clId="{FF619854-36AB-5EBF-9E5D-98EFA49D418E}" dt="2025-11-24T23:52:14.685" v="16614" actId="20577"/>
        <pc:sldMkLst>
          <pc:docMk/>
          <pc:sldMk cId="1735958492" sldId="324"/>
        </pc:sldMkLst>
        <pc:spChg chg="mod">
          <ac:chgData name="Theresa Keeney" userId="4745ffe2-4b50-4acb-8649-29e2f3009cae" providerId="ADAL" clId="{FF619854-36AB-5EBF-9E5D-98EFA49D418E}" dt="2025-11-24T23:52:14.685" v="16614" actId="20577"/>
          <ac:spMkLst>
            <pc:docMk/>
            <pc:sldMk cId="1735958492" sldId="324"/>
            <ac:spMk id="9" creationId="{9334104E-317A-5BF6-3FF9-8A9170996236}"/>
          </ac:spMkLst>
        </pc:spChg>
      </pc:sldChg>
      <pc:sldChg chg="addSp delSp modSp add mod">
        <pc:chgData name="Theresa Keeney" userId="4745ffe2-4b50-4acb-8649-29e2f3009cae" providerId="ADAL" clId="{FF619854-36AB-5EBF-9E5D-98EFA49D418E}" dt="2025-11-24T23:52:00.407" v="16602" actId="478"/>
        <pc:sldMkLst>
          <pc:docMk/>
          <pc:sldMk cId="1240275852" sldId="325"/>
        </pc:sldMkLst>
      </pc:sldChg>
      <pc:sldChg chg="addSp delSp modSp add mod ord">
        <pc:chgData name="Theresa Keeney" userId="4745ffe2-4b50-4acb-8649-29e2f3009cae" providerId="ADAL" clId="{FF619854-36AB-5EBF-9E5D-98EFA49D418E}" dt="2025-11-24T23:58:12.747" v="16688" actId="478"/>
        <pc:sldMkLst>
          <pc:docMk/>
          <pc:sldMk cId="3097284674" sldId="327"/>
        </pc:sldMkLst>
      </pc:sldChg>
      <pc:sldChg chg="addSp delSp modSp add mod">
        <pc:chgData name="Theresa Keeney" userId="4745ffe2-4b50-4acb-8649-29e2f3009cae" providerId="ADAL" clId="{FF619854-36AB-5EBF-9E5D-98EFA49D418E}" dt="2025-11-24T23:58:19.454" v="16690" actId="478"/>
        <pc:sldMkLst>
          <pc:docMk/>
          <pc:sldMk cId="3921585001" sldId="328"/>
        </pc:sldMkLst>
      </pc:sldChg>
      <pc:sldChg chg="addSp delSp modSp new mod">
        <pc:chgData name="Theresa Keeney" userId="4745ffe2-4b50-4acb-8649-29e2f3009cae" providerId="ADAL" clId="{FF619854-36AB-5EBF-9E5D-98EFA49D418E}" dt="2025-11-24T23:50:56.346" v="16573" actId="478"/>
        <pc:sldMkLst>
          <pc:docMk/>
          <pc:sldMk cId="1577110314" sldId="329"/>
        </pc:sldMkLst>
      </pc:sldChg>
      <pc:sldChg chg="addSp delSp modSp new mod ord">
        <pc:chgData name="Theresa Keeney" userId="4745ffe2-4b50-4acb-8649-29e2f3009cae" providerId="ADAL" clId="{FF619854-36AB-5EBF-9E5D-98EFA49D418E}" dt="2025-11-24T23:50:12.483" v="16568" actId="478"/>
        <pc:sldMkLst>
          <pc:docMk/>
          <pc:sldMk cId="2544729286" sldId="330"/>
        </pc:sldMkLst>
      </pc:sldChg>
      <pc:sldChg chg="addSp delSp modSp add mod ord">
        <pc:chgData name="Theresa Keeney" userId="4745ffe2-4b50-4acb-8649-29e2f3009cae" providerId="ADAL" clId="{FF619854-36AB-5EBF-9E5D-98EFA49D418E}" dt="2025-11-24T23:51:33.626" v="16589" actId="478"/>
        <pc:sldMkLst>
          <pc:docMk/>
          <pc:sldMk cId="3489019230" sldId="331"/>
        </pc:sldMkLst>
      </pc:sldChg>
      <pc:sldChg chg="addSp delSp modSp add mod">
        <pc:chgData name="Theresa Keeney" userId="4745ffe2-4b50-4acb-8649-29e2f3009cae" providerId="ADAL" clId="{FF619854-36AB-5EBF-9E5D-98EFA49D418E}" dt="2025-11-24T23:51:42.101" v="16593" actId="478"/>
        <pc:sldMkLst>
          <pc:docMk/>
          <pc:sldMk cId="3412060924" sldId="332"/>
        </pc:sldMkLst>
      </pc:sldChg>
      <pc:sldChg chg="addSp delSp modSp add mod ord">
        <pc:chgData name="Theresa Keeney" userId="4745ffe2-4b50-4acb-8649-29e2f3009cae" providerId="ADAL" clId="{FF619854-36AB-5EBF-9E5D-98EFA49D418E}" dt="2025-11-24T23:58:06.936" v="16686" actId="478"/>
        <pc:sldMkLst>
          <pc:docMk/>
          <pc:sldMk cId="3343977790" sldId="333"/>
        </pc:sldMkLst>
      </pc:sldChg>
      <pc:sldChg chg="addSp delSp modSp add mod ord">
        <pc:chgData name="Theresa Keeney" userId="4745ffe2-4b50-4acb-8649-29e2f3009cae" providerId="ADAL" clId="{FF619854-36AB-5EBF-9E5D-98EFA49D418E}" dt="2025-11-24T23:57:47.729" v="16679" actId="478"/>
        <pc:sldMkLst>
          <pc:docMk/>
          <pc:sldMk cId="1179839465" sldId="334"/>
        </pc:sldMkLst>
      </pc:sldChg>
      <pc:sldChg chg="addSp delSp modSp add del mod">
        <pc:chgData name="Theresa Keeney" userId="4745ffe2-4b50-4acb-8649-29e2f3009cae" providerId="ADAL" clId="{FF619854-36AB-5EBF-9E5D-98EFA49D418E}" dt="2025-11-24T23:59:12.303" v="16705" actId="478"/>
        <pc:sldMkLst>
          <pc:docMk/>
          <pc:sldMk cId="3022175699" sldId="2147471554"/>
        </pc:sldMkLst>
      </pc:sldChg>
      <pc:sldChg chg="delSp mod">
        <pc:chgData name="Theresa Keeney" userId="4745ffe2-4b50-4acb-8649-29e2f3009cae" providerId="ADAL" clId="{FF619854-36AB-5EBF-9E5D-98EFA49D418E}" dt="2025-11-24T23:46:54.304" v="16524" actId="478"/>
        <pc:sldMkLst>
          <pc:docMk/>
          <pc:sldMk cId="1222995992" sldId="2147483646"/>
        </pc:sldMkLst>
      </pc:sldChg>
      <pc:sldChg chg="delSp mod">
        <pc:chgData name="Theresa Keeney" userId="4745ffe2-4b50-4acb-8649-29e2f3009cae" providerId="ADAL" clId="{FF619854-36AB-5EBF-9E5D-98EFA49D418E}" dt="2025-11-24T23:52:33.080" v="16616" actId="478"/>
        <pc:sldMkLst>
          <pc:docMk/>
          <pc:sldMk cId="3749642113" sldId="2147483647"/>
        </pc:sldMkLst>
      </pc:sldChg>
    </pc:docChg>
  </pc:docChgLst>
  <pc:docChgLst>
    <pc:chgData name="Jithin Thomas" userId="ef6c92be-06f2-4075-bbcf-ed38216b51ac" providerId="ADAL" clId="{237E70BE-1C02-595C-AAD9-EF56B36E7E71}"/>
    <pc:docChg chg="undo redo custSel addSld delSld modSld sldOrd modMainMaster addSection modSection">
      <pc:chgData name="Jithin Thomas" userId="ef6c92be-06f2-4075-bbcf-ed38216b51ac" providerId="ADAL" clId="{237E70BE-1C02-595C-AAD9-EF56B36E7E71}" dt="2025-11-25T12:19:18.609" v="497"/>
      <pc:docMkLst>
        <pc:docMk/>
      </pc:docMkLst>
      <pc:sldChg chg="modSp mod">
        <pc:chgData name="Jithin Thomas" userId="ef6c92be-06f2-4075-bbcf-ed38216b51ac" providerId="ADAL" clId="{237E70BE-1C02-595C-AAD9-EF56B36E7E71}" dt="2025-11-25T10:27:58.941" v="175" actId="2711"/>
        <pc:sldMkLst>
          <pc:docMk/>
          <pc:sldMk cId="664881370" sldId="256"/>
        </pc:sldMkLst>
        <pc:spChg chg="mod">
          <ac:chgData name="Jithin Thomas" userId="ef6c92be-06f2-4075-bbcf-ed38216b51ac" providerId="ADAL" clId="{237E70BE-1C02-595C-AAD9-EF56B36E7E71}" dt="2025-11-25T10:27:58.941" v="175" actId="2711"/>
          <ac:spMkLst>
            <pc:docMk/>
            <pc:sldMk cId="664881370" sldId="256"/>
            <ac:spMk id="5" creationId="{29437930-878F-4CA6-2B62-F308743C7D75}"/>
          </ac:spMkLst>
        </pc:spChg>
        <pc:spChg chg="mod">
          <ac:chgData name="Jithin Thomas" userId="ef6c92be-06f2-4075-bbcf-ed38216b51ac" providerId="ADAL" clId="{237E70BE-1C02-595C-AAD9-EF56B36E7E71}" dt="2025-11-25T10:27:58.941" v="175" actId="2711"/>
          <ac:spMkLst>
            <pc:docMk/>
            <pc:sldMk cId="664881370" sldId="256"/>
            <ac:spMk id="6" creationId="{7AF1DE72-0DC4-9F5E-4A86-82321634508A}"/>
          </ac:spMkLst>
        </pc:spChg>
        <pc:spChg chg="mod">
          <ac:chgData name="Jithin Thomas" userId="ef6c92be-06f2-4075-bbcf-ed38216b51ac" providerId="ADAL" clId="{237E70BE-1C02-595C-AAD9-EF56B36E7E71}" dt="2025-11-25T10:27:58.941" v="175" actId="2711"/>
          <ac:spMkLst>
            <pc:docMk/>
            <pc:sldMk cId="664881370" sldId="256"/>
            <ac:spMk id="7" creationId="{CFCDB044-4C32-2FBD-7BF4-BAEC6805B9AD}"/>
          </ac:spMkLst>
        </pc:spChg>
        <pc:spChg chg="mod">
          <ac:chgData name="Jithin Thomas" userId="ef6c92be-06f2-4075-bbcf-ed38216b51ac" providerId="ADAL" clId="{237E70BE-1C02-595C-AAD9-EF56B36E7E71}" dt="2025-11-25T10:27:58.941" v="175" actId="2711"/>
          <ac:spMkLst>
            <pc:docMk/>
            <pc:sldMk cId="664881370" sldId="256"/>
            <ac:spMk id="8" creationId="{53FCA84D-642F-AB3B-DC94-490B5EBCE0BD}"/>
          </ac:spMkLst>
        </pc:spChg>
        <pc:cxnChg chg="mod">
          <ac:chgData name="Jithin Thomas" userId="ef6c92be-06f2-4075-bbcf-ed38216b51ac" providerId="ADAL" clId="{237E70BE-1C02-595C-AAD9-EF56B36E7E71}" dt="2025-11-25T10:27:48.993" v="174" actId="208"/>
          <ac:cxnSpMkLst>
            <pc:docMk/>
            <pc:sldMk cId="664881370" sldId="256"/>
            <ac:cxnSpMk id="10" creationId="{4BAD993A-F0F4-5D54-C148-41CF05348012}"/>
          </ac:cxnSpMkLst>
        </pc:cxnChg>
        <pc:cxnChg chg="mod">
          <ac:chgData name="Jithin Thomas" userId="ef6c92be-06f2-4075-bbcf-ed38216b51ac" providerId="ADAL" clId="{237E70BE-1C02-595C-AAD9-EF56B36E7E71}" dt="2025-11-25T10:27:48.993" v="174" actId="208"/>
          <ac:cxnSpMkLst>
            <pc:docMk/>
            <pc:sldMk cId="664881370" sldId="256"/>
            <ac:cxnSpMk id="11" creationId="{1CDD0DE1-6EC7-2CCD-BB40-30C1516B2D0E}"/>
          </ac:cxnSpMkLst>
        </pc:cxnChg>
        <pc:cxnChg chg="mod">
          <ac:chgData name="Jithin Thomas" userId="ef6c92be-06f2-4075-bbcf-ed38216b51ac" providerId="ADAL" clId="{237E70BE-1C02-595C-AAD9-EF56B36E7E71}" dt="2025-11-25T10:27:48.993" v="174" actId="208"/>
          <ac:cxnSpMkLst>
            <pc:docMk/>
            <pc:sldMk cId="664881370" sldId="256"/>
            <ac:cxnSpMk id="13" creationId="{68D4BF16-A431-AD9C-0068-C11482B71F8F}"/>
          </ac:cxnSpMkLst>
        </pc:cxnChg>
      </pc:sldChg>
      <pc:sldChg chg="modSp mod ord">
        <pc:chgData name="Jithin Thomas" userId="ef6c92be-06f2-4075-bbcf-ed38216b51ac" providerId="ADAL" clId="{237E70BE-1C02-595C-AAD9-EF56B36E7E71}" dt="2025-11-25T12:14:47.344" v="485" actId="403"/>
        <pc:sldMkLst>
          <pc:docMk/>
          <pc:sldMk cId="1791009582" sldId="257"/>
        </pc:sldMkLst>
        <pc:spChg chg="mod">
          <ac:chgData name="Jithin Thomas" userId="ef6c92be-06f2-4075-bbcf-ed38216b51ac" providerId="ADAL" clId="{237E70BE-1C02-595C-AAD9-EF56B36E7E71}" dt="2025-11-25T12:14:47.344" v="485" actId="403"/>
          <ac:spMkLst>
            <pc:docMk/>
            <pc:sldMk cId="1791009582" sldId="257"/>
            <ac:spMk id="7" creationId="{5CBEC38D-1670-E159-457D-2147C11A9E4E}"/>
          </ac:spMkLst>
        </pc:spChg>
        <pc:graphicFrameChg chg="mod modGraphic">
          <ac:chgData name="Jithin Thomas" userId="ef6c92be-06f2-4075-bbcf-ed38216b51ac" providerId="ADAL" clId="{237E70BE-1C02-595C-AAD9-EF56B36E7E71}" dt="2025-11-25T10:18:27.233" v="94"/>
          <ac:graphicFrameMkLst>
            <pc:docMk/>
            <pc:sldMk cId="1791009582" sldId="257"/>
            <ac:graphicFrameMk id="4" creationId="{C142B8EE-D43D-F842-126E-C800D044ABED}"/>
          </ac:graphicFrameMkLst>
        </pc:graphicFrameChg>
      </pc:sldChg>
      <pc:sldChg chg="modSp mod chgLayout">
        <pc:chgData name="Jithin Thomas" userId="ef6c92be-06f2-4075-bbcf-ed38216b51ac" providerId="ADAL" clId="{237E70BE-1C02-595C-AAD9-EF56B36E7E71}" dt="2025-11-25T12:03:48.917" v="342" actId="1076"/>
        <pc:sldMkLst>
          <pc:docMk/>
          <pc:sldMk cId="817628832" sldId="258"/>
        </pc:sldMkLst>
        <pc:spChg chg="mod ord">
          <ac:chgData name="Jithin Thomas" userId="ef6c92be-06f2-4075-bbcf-ed38216b51ac" providerId="ADAL" clId="{237E70BE-1C02-595C-AAD9-EF56B36E7E71}" dt="2025-11-25T12:03:41.852" v="340" actId="700"/>
          <ac:spMkLst>
            <pc:docMk/>
            <pc:sldMk cId="817628832" sldId="258"/>
            <ac:spMk id="4" creationId="{DA515C1F-684C-E920-BE73-7C534230FF71}"/>
          </ac:spMkLst>
        </pc:spChg>
        <pc:spChg chg="mod ord">
          <ac:chgData name="Jithin Thomas" userId="ef6c92be-06f2-4075-bbcf-ed38216b51ac" providerId="ADAL" clId="{237E70BE-1C02-595C-AAD9-EF56B36E7E71}" dt="2025-11-25T12:03:41.852" v="340" actId="700"/>
          <ac:spMkLst>
            <pc:docMk/>
            <pc:sldMk cId="817628832" sldId="258"/>
            <ac:spMk id="9" creationId="{3F36C06F-DB4A-4639-D8D0-0925F68E0A8D}"/>
          </ac:spMkLst>
        </pc:spChg>
        <pc:spChg chg="mod ord">
          <ac:chgData name="Jithin Thomas" userId="ef6c92be-06f2-4075-bbcf-ed38216b51ac" providerId="ADAL" clId="{237E70BE-1C02-595C-AAD9-EF56B36E7E71}" dt="2025-11-25T12:03:44.891" v="341" actId="14100"/>
          <ac:spMkLst>
            <pc:docMk/>
            <pc:sldMk cId="817628832" sldId="258"/>
            <ac:spMk id="12" creationId="{1D8B60CC-C38A-81B2-8B71-9EB58A9D0CAF}"/>
          </ac:spMkLst>
        </pc:spChg>
        <pc:picChg chg="mod">
          <ac:chgData name="Jithin Thomas" userId="ef6c92be-06f2-4075-bbcf-ed38216b51ac" providerId="ADAL" clId="{237E70BE-1C02-595C-AAD9-EF56B36E7E71}" dt="2025-11-25T12:03:48.917" v="342" actId="1076"/>
          <ac:picMkLst>
            <pc:docMk/>
            <pc:sldMk cId="817628832" sldId="258"/>
            <ac:picMk id="2" creationId="{4CF82C2C-2664-1178-FCC4-20283C3CA9E1}"/>
          </ac:picMkLst>
        </pc:picChg>
      </pc:sldChg>
      <pc:sldChg chg="modSp mod chgLayout">
        <pc:chgData name="Jithin Thomas" userId="ef6c92be-06f2-4075-bbcf-ed38216b51ac" providerId="ADAL" clId="{237E70BE-1C02-595C-AAD9-EF56B36E7E71}" dt="2025-11-25T10:28:42.575" v="181"/>
        <pc:sldMkLst>
          <pc:docMk/>
          <pc:sldMk cId="3689133857" sldId="260"/>
        </pc:sldMkLst>
        <pc:spChg chg="mod ord">
          <ac:chgData name="Jithin Thomas" userId="ef6c92be-06f2-4075-bbcf-ed38216b51ac" providerId="ADAL" clId="{237E70BE-1C02-595C-AAD9-EF56B36E7E71}" dt="2025-11-25T10:28:32.687" v="179" actId="700"/>
          <ac:spMkLst>
            <pc:docMk/>
            <pc:sldMk cId="3689133857" sldId="260"/>
            <ac:spMk id="4" creationId="{324203FF-7E76-D39E-A4E3-EAEB4B3FD26A}"/>
          </ac:spMkLst>
        </pc:spChg>
        <pc:spChg chg="mod ord">
          <ac:chgData name="Jithin Thomas" userId="ef6c92be-06f2-4075-bbcf-ed38216b51ac" providerId="ADAL" clId="{237E70BE-1C02-595C-AAD9-EF56B36E7E71}" dt="2025-11-25T10:28:32.687" v="179" actId="700"/>
          <ac:spMkLst>
            <pc:docMk/>
            <pc:sldMk cId="3689133857" sldId="260"/>
            <ac:spMk id="9" creationId="{0EA8FF0B-38A3-A3D6-0B59-E4FAD7DBFA2B}"/>
          </ac:spMkLst>
        </pc:spChg>
        <pc:spChg chg="mod ord">
          <ac:chgData name="Jithin Thomas" userId="ef6c92be-06f2-4075-bbcf-ed38216b51ac" providerId="ADAL" clId="{237E70BE-1C02-595C-AAD9-EF56B36E7E71}" dt="2025-11-25T10:28:42.575" v="181"/>
          <ac:spMkLst>
            <pc:docMk/>
            <pc:sldMk cId="3689133857" sldId="260"/>
            <ac:spMk id="12" creationId="{9D57BD34-3477-F194-65DC-F5D4A32A905A}"/>
          </ac:spMkLst>
        </pc:spChg>
        <pc:grpChg chg="mod">
          <ac:chgData name="Jithin Thomas" userId="ef6c92be-06f2-4075-bbcf-ed38216b51ac" providerId="ADAL" clId="{237E70BE-1C02-595C-AAD9-EF56B36E7E71}" dt="2025-11-25T10:28:10.216" v="176" actId="1076"/>
          <ac:grpSpMkLst>
            <pc:docMk/>
            <pc:sldMk cId="3689133857" sldId="260"/>
            <ac:grpSpMk id="14" creationId="{B3174750-0F46-E9A3-8D17-741F744C4E9B}"/>
          </ac:grpSpMkLst>
        </pc:grpChg>
        <pc:picChg chg="mod">
          <ac:chgData name="Jithin Thomas" userId="ef6c92be-06f2-4075-bbcf-ed38216b51ac" providerId="ADAL" clId="{237E70BE-1C02-595C-AAD9-EF56B36E7E71}" dt="2025-11-25T10:28:10.216" v="176" actId="1076"/>
          <ac:picMkLst>
            <pc:docMk/>
            <pc:sldMk cId="3689133857" sldId="260"/>
            <ac:picMk id="17" creationId="{0C471C56-14D2-A645-10B8-4D2C5C461271}"/>
          </ac:picMkLst>
        </pc:picChg>
      </pc:sldChg>
      <pc:sldChg chg="addSp delSp modSp mod chgLayout">
        <pc:chgData name="Jithin Thomas" userId="ef6c92be-06f2-4075-bbcf-ed38216b51ac" providerId="ADAL" clId="{237E70BE-1C02-595C-AAD9-EF56B36E7E71}" dt="2025-11-25T12:19:18.609" v="497"/>
        <pc:sldMkLst>
          <pc:docMk/>
          <pc:sldMk cId="3804882809" sldId="261"/>
        </pc:sldMkLst>
        <pc:spChg chg="mod ord">
          <ac:chgData name="Jithin Thomas" userId="ef6c92be-06f2-4075-bbcf-ed38216b51ac" providerId="ADAL" clId="{237E70BE-1C02-595C-AAD9-EF56B36E7E71}" dt="2025-11-25T10:29:07.449" v="182" actId="700"/>
          <ac:spMkLst>
            <pc:docMk/>
            <pc:sldMk cId="3804882809" sldId="261"/>
            <ac:spMk id="4" creationId="{3E825442-941B-DCB7-BF4B-EE3314D738A8}"/>
          </ac:spMkLst>
        </pc:spChg>
        <pc:spChg chg="add mod">
          <ac:chgData name="Jithin Thomas" userId="ef6c92be-06f2-4075-bbcf-ed38216b51ac" providerId="ADAL" clId="{237E70BE-1C02-595C-AAD9-EF56B36E7E71}" dt="2025-11-25T12:19:18.609" v="497"/>
          <ac:spMkLst>
            <pc:docMk/>
            <pc:sldMk cId="3804882809" sldId="261"/>
            <ac:spMk id="5" creationId="{A1DA7AC3-6E63-94F6-AA6F-DA80DFAB2001}"/>
          </ac:spMkLst>
        </pc:spChg>
        <pc:spChg chg="mod ord">
          <ac:chgData name="Jithin Thomas" userId="ef6c92be-06f2-4075-bbcf-ed38216b51ac" providerId="ADAL" clId="{237E70BE-1C02-595C-AAD9-EF56B36E7E71}" dt="2025-11-25T10:29:07.449" v="182" actId="700"/>
          <ac:spMkLst>
            <pc:docMk/>
            <pc:sldMk cId="3804882809" sldId="261"/>
            <ac:spMk id="8" creationId="{3E6467B9-41BA-3C49-6484-D4C03C40C021}"/>
          </ac:spMkLst>
        </pc:spChg>
        <pc:graphicFrameChg chg="mod modGraphic">
          <ac:chgData name="Jithin Thomas" userId="ef6c92be-06f2-4075-bbcf-ed38216b51ac" providerId="ADAL" clId="{237E70BE-1C02-595C-AAD9-EF56B36E7E71}" dt="2025-11-25T12:19:17.001" v="496"/>
          <ac:graphicFrameMkLst>
            <pc:docMk/>
            <pc:sldMk cId="3804882809" sldId="261"/>
            <ac:graphicFrameMk id="7" creationId="{314C8768-D830-EC24-91BB-73F811017357}"/>
          </ac:graphicFrameMkLst>
        </pc:graphicFrameChg>
      </pc:sldChg>
      <pc:sldChg chg="modSp mod">
        <pc:chgData name="Jithin Thomas" userId="ef6c92be-06f2-4075-bbcf-ed38216b51ac" providerId="ADAL" clId="{237E70BE-1C02-595C-AAD9-EF56B36E7E71}" dt="2025-11-25T10:34:03.776" v="205" actId="20577"/>
        <pc:sldMkLst>
          <pc:docMk/>
          <pc:sldMk cId="287140935" sldId="262"/>
        </pc:sldMkLst>
        <pc:spChg chg="mod">
          <ac:chgData name="Jithin Thomas" userId="ef6c92be-06f2-4075-bbcf-ed38216b51ac" providerId="ADAL" clId="{237E70BE-1C02-595C-AAD9-EF56B36E7E71}" dt="2025-11-25T10:34:03.776" v="205" actId="20577"/>
          <ac:spMkLst>
            <pc:docMk/>
            <pc:sldMk cId="287140935" sldId="262"/>
            <ac:spMk id="3" creationId="{C9273244-1F1E-D229-7B80-D0F1FF8007C4}"/>
          </ac:spMkLst>
        </pc:spChg>
      </pc:sldChg>
      <pc:sldChg chg="addSp delSp modSp mod chgLayout">
        <pc:chgData name="Jithin Thomas" userId="ef6c92be-06f2-4075-bbcf-ed38216b51ac" providerId="ADAL" clId="{237E70BE-1C02-595C-AAD9-EF56B36E7E71}" dt="2025-11-25T10:29:57.476" v="194"/>
        <pc:sldMkLst>
          <pc:docMk/>
          <pc:sldMk cId="1613770932" sldId="263"/>
        </pc:sldMkLst>
        <pc:spChg chg="mod ord">
          <ac:chgData name="Jithin Thomas" userId="ef6c92be-06f2-4075-bbcf-ed38216b51ac" providerId="ADAL" clId="{237E70BE-1C02-595C-AAD9-EF56B36E7E71}" dt="2025-11-25T10:25:58.056" v="160" actId="700"/>
          <ac:spMkLst>
            <pc:docMk/>
            <pc:sldMk cId="1613770932" sldId="263"/>
            <ac:spMk id="4" creationId="{D7936EE9-06C3-D053-0427-4914F28B0CF3}"/>
          </ac:spMkLst>
        </pc:spChg>
        <pc:spChg chg="add mod">
          <ac:chgData name="Jithin Thomas" userId="ef6c92be-06f2-4075-bbcf-ed38216b51ac" providerId="ADAL" clId="{237E70BE-1C02-595C-AAD9-EF56B36E7E71}" dt="2025-11-25T10:29:57.476" v="194"/>
          <ac:spMkLst>
            <pc:docMk/>
            <pc:sldMk cId="1613770932" sldId="263"/>
            <ac:spMk id="7" creationId="{19E01C2E-AC94-EC1E-2D24-CE346C035246}"/>
          </ac:spMkLst>
        </pc:spChg>
        <pc:graphicFrameChg chg="mod modGraphic">
          <ac:chgData name="Jithin Thomas" userId="ef6c92be-06f2-4075-bbcf-ed38216b51ac" providerId="ADAL" clId="{237E70BE-1C02-595C-AAD9-EF56B36E7E71}" dt="2025-11-25T10:29:55.837" v="193" actId="242"/>
          <ac:graphicFrameMkLst>
            <pc:docMk/>
            <pc:sldMk cId="1613770932" sldId="263"/>
            <ac:graphicFrameMk id="5" creationId="{32D57CAC-1592-9240-2692-E0709300868F}"/>
          </ac:graphicFrameMkLst>
        </pc:graphicFrameChg>
      </pc:sldChg>
      <pc:sldChg chg="modSp mod">
        <pc:chgData name="Jithin Thomas" userId="ef6c92be-06f2-4075-bbcf-ed38216b51ac" providerId="ADAL" clId="{237E70BE-1C02-595C-AAD9-EF56B36E7E71}" dt="2025-11-25T10:25:33.630" v="158" actId="14734"/>
        <pc:sldMkLst>
          <pc:docMk/>
          <pc:sldMk cId="2811306165" sldId="265"/>
        </pc:sldMkLst>
        <pc:graphicFrameChg chg="modGraphic">
          <ac:chgData name="Jithin Thomas" userId="ef6c92be-06f2-4075-bbcf-ed38216b51ac" providerId="ADAL" clId="{237E70BE-1C02-595C-AAD9-EF56B36E7E71}" dt="2025-11-25T10:25:33.630" v="158" actId="14734"/>
          <ac:graphicFrameMkLst>
            <pc:docMk/>
            <pc:sldMk cId="2811306165" sldId="265"/>
            <ac:graphicFrameMk id="10" creationId="{C1697B01-8CD9-F284-34E4-DD1AD372BD41}"/>
          </ac:graphicFrameMkLst>
        </pc:graphicFrameChg>
      </pc:sldChg>
      <pc:sldChg chg="addSp delSp modSp mod chgLayout">
        <pc:chgData name="Jithin Thomas" userId="ef6c92be-06f2-4075-bbcf-ed38216b51ac" providerId="ADAL" clId="{237E70BE-1C02-595C-AAD9-EF56B36E7E71}" dt="2025-11-25T12:15:42.596" v="487" actId="478"/>
        <pc:sldMkLst>
          <pc:docMk/>
          <pc:sldMk cId="2925748306" sldId="266"/>
        </pc:sldMkLst>
        <pc:spChg chg="add mod">
          <ac:chgData name="Jithin Thomas" userId="ef6c92be-06f2-4075-bbcf-ed38216b51ac" providerId="ADAL" clId="{237E70BE-1C02-595C-AAD9-EF56B36E7E71}" dt="2025-11-25T10:33:53.820" v="203" actId="14100"/>
          <ac:spMkLst>
            <pc:docMk/>
            <pc:sldMk cId="2925748306" sldId="266"/>
            <ac:spMk id="2" creationId="{63B4D7FD-A6F2-81BF-6FE5-DFCB6BDF4DBB}"/>
          </ac:spMkLst>
        </pc:spChg>
        <pc:spChg chg="mod ord">
          <ac:chgData name="Jithin Thomas" userId="ef6c92be-06f2-4075-bbcf-ed38216b51ac" providerId="ADAL" clId="{237E70BE-1C02-595C-AAD9-EF56B36E7E71}" dt="2025-11-25T12:15:39.158" v="486" actId="700"/>
          <ac:spMkLst>
            <pc:docMk/>
            <pc:sldMk cId="2925748306" sldId="266"/>
            <ac:spMk id="4" creationId="{D4D75AFB-C059-92A4-D9C1-A15FCC67756B}"/>
          </ac:spMkLst>
        </pc:spChg>
        <pc:spChg chg="mod ord">
          <ac:chgData name="Jithin Thomas" userId="ef6c92be-06f2-4075-bbcf-ed38216b51ac" providerId="ADAL" clId="{237E70BE-1C02-595C-AAD9-EF56B36E7E71}" dt="2025-11-25T12:15:39.158" v="486" actId="700"/>
          <ac:spMkLst>
            <pc:docMk/>
            <pc:sldMk cId="2925748306" sldId="266"/>
            <ac:spMk id="8" creationId="{5C76B486-B31B-5AD1-8730-CA198865C8E7}"/>
          </ac:spMkLst>
        </pc:spChg>
        <pc:graphicFrameChg chg="mod modGraphic">
          <ac:chgData name="Jithin Thomas" userId="ef6c92be-06f2-4075-bbcf-ed38216b51ac" providerId="ADAL" clId="{237E70BE-1C02-595C-AAD9-EF56B36E7E71}" dt="2025-11-25T10:33:29.679" v="199" actId="207"/>
          <ac:graphicFrameMkLst>
            <pc:docMk/>
            <pc:sldMk cId="2925748306" sldId="266"/>
            <ac:graphicFrameMk id="7" creationId="{26F18C7C-D602-9FFD-9BAB-81C3BDE6566B}"/>
          </ac:graphicFrameMkLst>
        </pc:graphicFrameChg>
      </pc:sldChg>
      <pc:sldChg chg="addSp modSp add mod">
        <pc:chgData name="Jithin Thomas" userId="ef6c92be-06f2-4075-bbcf-ed38216b51ac" providerId="ADAL" clId="{237E70BE-1C02-595C-AAD9-EF56B36E7E71}" dt="2025-11-25T12:18:28.395" v="494"/>
        <pc:sldMkLst>
          <pc:docMk/>
          <pc:sldMk cId="52878602" sldId="268"/>
        </pc:sldMkLst>
        <pc:spChg chg="add mod">
          <ac:chgData name="Jithin Thomas" userId="ef6c92be-06f2-4075-bbcf-ed38216b51ac" providerId="ADAL" clId="{237E70BE-1C02-595C-AAD9-EF56B36E7E71}" dt="2025-11-25T10:23:22.912" v="141"/>
          <ac:spMkLst>
            <pc:docMk/>
            <pc:sldMk cId="52878602" sldId="268"/>
            <ac:spMk id="3" creationId="{A8403A79-9090-BE98-0807-8EC8BFD7F1F5}"/>
          </ac:spMkLst>
        </pc:spChg>
        <pc:spChg chg="add mod">
          <ac:chgData name="Jithin Thomas" userId="ef6c92be-06f2-4075-bbcf-ed38216b51ac" providerId="ADAL" clId="{237E70BE-1C02-595C-AAD9-EF56B36E7E71}" dt="2025-11-25T10:23:28.722" v="142"/>
          <ac:spMkLst>
            <pc:docMk/>
            <pc:sldMk cId="52878602" sldId="268"/>
            <ac:spMk id="5" creationId="{06950B6C-8E33-B46D-F43F-9ED07C9ADDEF}"/>
          </ac:spMkLst>
        </pc:spChg>
        <pc:spChg chg="add mod">
          <ac:chgData name="Jithin Thomas" userId="ef6c92be-06f2-4075-bbcf-ed38216b51ac" providerId="ADAL" clId="{237E70BE-1C02-595C-AAD9-EF56B36E7E71}" dt="2025-11-25T12:18:28.395" v="494"/>
          <ac:spMkLst>
            <pc:docMk/>
            <pc:sldMk cId="52878602" sldId="268"/>
            <ac:spMk id="6" creationId="{448ED2CA-23D5-60B6-4751-92FD45E3AF30}"/>
          </ac:spMkLst>
        </pc:spChg>
        <pc:spChg chg="add mod">
          <ac:chgData name="Jithin Thomas" userId="ef6c92be-06f2-4075-bbcf-ed38216b51ac" providerId="ADAL" clId="{237E70BE-1C02-595C-AAD9-EF56B36E7E71}" dt="2025-11-25T10:23:39.991" v="144"/>
          <ac:spMkLst>
            <pc:docMk/>
            <pc:sldMk cId="52878602" sldId="268"/>
            <ac:spMk id="7" creationId="{B5E11BEE-182F-8F53-1F41-01385C968F06}"/>
          </ac:spMkLst>
        </pc:spChg>
        <pc:spChg chg="mod">
          <ac:chgData name="Jithin Thomas" userId="ef6c92be-06f2-4075-bbcf-ed38216b51ac" providerId="ADAL" clId="{237E70BE-1C02-595C-AAD9-EF56B36E7E71}" dt="2025-11-25T10:22:47.673" v="131" actId="20577"/>
          <ac:spMkLst>
            <pc:docMk/>
            <pc:sldMk cId="52878602" sldId="268"/>
            <ac:spMk id="22" creationId="{8AE070C6-15BE-75DB-16DE-81444DEA312C}"/>
          </ac:spMkLst>
        </pc:spChg>
        <pc:spChg chg="mod">
          <ac:chgData name="Jithin Thomas" userId="ef6c92be-06f2-4075-bbcf-ed38216b51ac" providerId="ADAL" clId="{237E70BE-1C02-595C-AAD9-EF56B36E7E71}" dt="2025-11-25T10:23:47.727" v="146" actId="122"/>
          <ac:spMkLst>
            <pc:docMk/>
            <pc:sldMk cId="52878602" sldId="268"/>
            <ac:spMk id="24" creationId="{F1D27FCC-2CD6-3494-8A09-7A1B54F21662}"/>
          </ac:spMkLst>
        </pc:spChg>
        <pc:spChg chg="mod">
          <ac:chgData name="Jithin Thomas" userId="ef6c92be-06f2-4075-bbcf-ed38216b51ac" providerId="ADAL" clId="{237E70BE-1C02-595C-AAD9-EF56B36E7E71}" dt="2025-11-25T10:23:47.727" v="146" actId="122"/>
          <ac:spMkLst>
            <pc:docMk/>
            <pc:sldMk cId="52878602" sldId="268"/>
            <ac:spMk id="25" creationId="{3DF954B8-51DA-DBB6-21DD-8F1D4AE0FC44}"/>
          </ac:spMkLst>
        </pc:spChg>
        <pc:spChg chg="mod">
          <ac:chgData name="Jithin Thomas" userId="ef6c92be-06f2-4075-bbcf-ed38216b51ac" providerId="ADAL" clId="{237E70BE-1C02-595C-AAD9-EF56B36E7E71}" dt="2025-11-25T10:22:54.819" v="135" actId="20577"/>
          <ac:spMkLst>
            <pc:docMk/>
            <pc:sldMk cId="52878602" sldId="268"/>
            <ac:spMk id="26" creationId="{BFD0CE78-E2B8-4592-3351-F0E9034EAF25}"/>
          </ac:spMkLst>
        </pc:spChg>
        <pc:spChg chg="mod">
          <ac:chgData name="Jithin Thomas" userId="ef6c92be-06f2-4075-bbcf-ed38216b51ac" providerId="ADAL" clId="{237E70BE-1C02-595C-AAD9-EF56B36E7E71}" dt="2025-11-25T10:22:51.852" v="133" actId="20577"/>
          <ac:spMkLst>
            <pc:docMk/>
            <pc:sldMk cId="52878602" sldId="268"/>
            <ac:spMk id="27" creationId="{A33F09AA-8BFA-6384-DFDF-57345C7A58A9}"/>
          </ac:spMkLst>
        </pc:spChg>
        <pc:spChg chg="mod">
          <ac:chgData name="Jithin Thomas" userId="ef6c92be-06f2-4075-bbcf-ed38216b51ac" providerId="ADAL" clId="{237E70BE-1C02-595C-AAD9-EF56B36E7E71}" dt="2025-11-25T10:22:58.975" v="138" actId="5793"/>
          <ac:spMkLst>
            <pc:docMk/>
            <pc:sldMk cId="52878602" sldId="268"/>
            <ac:spMk id="28" creationId="{42F1D3AE-800D-60B5-E9E5-907B810814A7}"/>
          </ac:spMkLst>
        </pc:spChg>
        <pc:spChg chg="mod">
          <ac:chgData name="Jithin Thomas" userId="ef6c92be-06f2-4075-bbcf-ed38216b51ac" providerId="ADAL" clId="{237E70BE-1C02-595C-AAD9-EF56B36E7E71}" dt="2025-11-25T10:23:47.727" v="146" actId="122"/>
          <ac:spMkLst>
            <pc:docMk/>
            <pc:sldMk cId="52878602" sldId="268"/>
            <ac:spMk id="30" creationId="{E67816ED-EF62-27BE-5F19-1D9DAA7FCA9C}"/>
          </ac:spMkLst>
        </pc:spChg>
        <pc:spChg chg="mod">
          <ac:chgData name="Jithin Thomas" userId="ef6c92be-06f2-4075-bbcf-ed38216b51ac" providerId="ADAL" clId="{237E70BE-1C02-595C-AAD9-EF56B36E7E71}" dt="2025-11-25T10:23:47.727" v="146" actId="122"/>
          <ac:spMkLst>
            <pc:docMk/>
            <pc:sldMk cId="52878602" sldId="268"/>
            <ac:spMk id="31" creationId="{66007635-5A77-F1F3-0011-7AA98D8F022F}"/>
          </ac:spMkLst>
        </pc:spChg>
        <pc:spChg chg="mod">
          <ac:chgData name="Jithin Thomas" userId="ef6c92be-06f2-4075-bbcf-ed38216b51ac" providerId="ADAL" clId="{237E70BE-1C02-595C-AAD9-EF56B36E7E71}" dt="2025-11-25T10:23:47.727" v="146" actId="122"/>
          <ac:spMkLst>
            <pc:docMk/>
            <pc:sldMk cId="52878602" sldId="268"/>
            <ac:spMk id="33" creationId="{5EC7DA63-1EFF-6541-D8C2-F97E1AE898C1}"/>
          </ac:spMkLst>
        </pc:spChg>
        <pc:spChg chg="mod">
          <ac:chgData name="Jithin Thomas" userId="ef6c92be-06f2-4075-bbcf-ed38216b51ac" providerId="ADAL" clId="{237E70BE-1C02-595C-AAD9-EF56B36E7E71}" dt="2025-11-25T10:23:47.727" v="146" actId="122"/>
          <ac:spMkLst>
            <pc:docMk/>
            <pc:sldMk cId="52878602" sldId="268"/>
            <ac:spMk id="34" creationId="{82448686-5C95-47D5-B21B-6629BDC0CC92}"/>
          </ac:spMkLst>
        </pc:spChg>
        <pc:spChg chg="mod">
          <ac:chgData name="Jithin Thomas" userId="ef6c92be-06f2-4075-bbcf-ed38216b51ac" providerId="ADAL" clId="{237E70BE-1C02-595C-AAD9-EF56B36E7E71}" dt="2025-11-25T10:23:47.727" v="146" actId="122"/>
          <ac:spMkLst>
            <pc:docMk/>
            <pc:sldMk cId="52878602" sldId="268"/>
            <ac:spMk id="36" creationId="{41CC3A9E-5787-FBD2-474B-88CBBA2E96C1}"/>
          </ac:spMkLst>
        </pc:spChg>
        <pc:spChg chg="mod">
          <ac:chgData name="Jithin Thomas" userId="ef6c92be-06f2-4075-bbcf-ed38216b51ac" providerId="ADAL" clId="{237E70BE-1C02-595C-AAD9-EF56B36E7E71}" dt="2025-11-25T10:23:47.727" v="146" actId="122"/>
          <ac:spMkLst>
            <pc:docMk/>
            <pc:sldMk cId="52878602" sldId="268"/>
            <ac:spMk id="37" creationId="{2629065D-2B02-8F57-4D91-D667947A903C}"/>
          </ac:spMkLst>
        </pc:spChg>
      </pc:sldChg>
      <pc:sldChg chg="addSp delSp modSp mod modClrScheme chgLayout">
        <pc:chgData name="Jithin Thomas" userId="ef6c92be-06f2-4075-bbcf-ed38216b51ac" providerId="ADAL" clId="{237E70BE-1C02-595C-AAD9-EF56B36E7E71}" dt="2025-11-25T10:12:34.630" v="37" actId="6264"/>
        <pc:sldMkLst>
          <pc:docMk/>
          <pc:sldMk cId="182670710" sldId="269"/>
        </pc:sldMkLst>
        <pc:spChg chg="mod ord">
          <ac:chgData name="Jithin Thomas" userId="ef6c92be-06f2-4075-bbcf-ed38216b51ac" providerId="ADAL" clId="{237E70BE-1C02-595C-AAD9-EF56B36E7E71}" dt="2025-11-25T10:12:34.630" v="37" actId="6264"/>
          <ac:spMkLst>
            <pc:docMk/>
            <pc:sldMk cId="182670710" sldId="269"/>
            <ac:spMk id="5" creationId="{96479FD1-A641-DD85-20D7-E333C8C65A29}"/>
          </ac:spMkLst>
        </pc:spChg>
        <pc:spChg chg="mod ord">
          <ac:chgData name="Jithin Thomas" userId="ef6c92be-06f2-4075-bbcf-ed38216b51ac" providerId="ADAL" clId="{237E70BE-1C02-595C-AAD9-EF56B36E7E71}" dt="2025-11-25T10:12:34.630" v="37" actId="6264"/>
          <ac:spMkLst>
            <pc:docMk/>
            <pc:sldMk cId="182670710" sldId="269"/>
            <ac:spMk id="6" creationId="{AA03F57A-2371-63D4-805C-989C00D7371F}"/>
          </ac:spMkLst>
        </pc:spChg>
      </pc:sldChg>
      <pc:sldChg chg="addSp delSp modSp mod">
        <pc:chgData name="Jithin Thomas" userId="ef6c92be-06f2-4075-bbcf-ed38216b51ac" providerId="ADAL" clId="{237E70BE-1C02-595C-AAD9-EF56B36E7E71}" dt="2025-11-25T10:38:04.281" v="227" actId="207"/>
        <pc:sldMkLst>
          <pc:docMk/>
          <pc:sldMk cId="533090875" sldId="270"/>
        </pc:sldMkLst>
        <pc:spChg chg="mod topLvl">
          <ac:chgData name="Jithin Thomas" userId="ef6c92be-06f2-4075-bbcf-ed38216b51ac" providerId="ADAL" clId="{237E70BE-1C02-595C-AAD9-EF56B36E7E71}" dt="2025-11-25T10:38:04.281" v="227" actId="207"/>
          <ac:spMkLst>
            <pc:docMk/>
            <pc:sldMk cId="533090875" sldId="270"/>
            <ac:spMk id="5" creationId="{610B8C24-45B8-214C-BE44-7428AB4FA2BD}"/>
          </ac:spMkLst>
        </pc:spChg>
        <pc:spChg chg="mod topLvl">
          <ac:chgData name="Jithin Thomas" userId="ef6c92be-06f2-4075-bbcf-ed38216b51ac" providerId="ADAL" clId="{237E70BE-1C02-595C-AAD9-EF56B36E7E71}" dt="2025-11-25T10:38:00.342" v="226" actId="164"/>
          <ac:spMkLst>
            <pc:docMk/>
            <pc:sldMk cId="533090875" sldId="270"/>
            <ac:spMk id="6" creationId="{9E0613A2-F23C-DCB8-81FC-9087E90030D4}"/>
          </ac:spMkLst>
        </pc:spChg>
        <pc:spChg chg="mod topLvl">
          <ac:chgData name="Jithin Thomas" userId="ef6c92be-06f2-4075-bbcf-ed38216b51ac" providerId="ADAL" clId="{237E70BE-1C02-595C-AAD9-EF56B36E7E71}" dt="2025-11-25T10:38:00.342" v="226" actId="164"/>
          <ac:spMkLst>
            <pc:docMk/>
            <pc:sldMk cId="533090875" sldId="270"/>
            <ac:spMk id="7" creationId="{F47F399A-B9F2-F0C9-9332-AE915DD8FBF4}"/>
          </ac:spMkLst>
        </pc:spChg>
        <pc:spChg chg="mod topLvl">
          <ac:chgData name="Jithin Thomas" userId="ef6c92be-06f2-4075-bbcf-ed38216b51ac" providerId="ADAL" clId="{237E70BE-1C02-595C-AAD9-EF56B36E7E71}" dt="2025-11-25T10:38:00.342" v="226" actId="164"/>
          <ac:spMkLst>
            <pc:docMk/>
            <pc:sldMk cId="533090875" sldId="270"/>
            <ac:spMk id="8" creationId="{2CDCB0DB-A7F6-5A90-275A-884F74C9CDC1}"/>
          </ac:spMkLst>
        </pc:spChg>
        <pc:spChg chg="mod">
          <ac:chgData name="Jithin Thomas" userId="ef6c92be-06f2-4075-bbcf-ed38216b51ac" providerId="ADAL" clId="{237E70BE-1C02-595C-AAD9-EF56B36E7E71}" dt="2025-11-25T10:37:45.344" v="224" actId="207"/>
          <ac:spMkLst>
            <pc:docMk/>
            <pc:sldMk cId="533090875" sldId="270"/>
            <ac:spMk id="9" creationId="{0FBBD56E-5412-78C5-0981-06134725B070}"/>
          </ac:spMkLst>
        </pc:spChg>
        <pc:spChg chg="mod topLvl">
          <ac:chgData name="Jithin Thomas" userId="ef6c92be-06f2-4075-bbcf-ed38216b51ac" providerId="ADAL" clId="{237E70BE-1C02-595C-AAD9-EF56B36E7E71}" dt="2025-11-25T10:38:00.342" v="226" actId="164"/>
          <ac:spMkLst>
            <pc:docMk/>
            <pc:sldMk cId="533090875" sldId="270"/>
            <ac:spMk id="10" creationId="{D8157B58-41FA-A28A-2E95-146AB4CD7D7D}"/>
          </ac:spMkLst>
        </pc:spChg>
        <pc:spChg chg="mod topLvl">
          <ac:chgData name="Jithin Thomas" userId="ef6c92be-06f2-4075-bbcf-ed38216b51ac" providerId="ADAL" clId="{237E70BE-1C02-595C-AAD9-EF56B36E7E71}" dt="2025-11-25T10:38:00.342" v="226" actId="164"/>
          <ac:spMkLst>
            <pc:docMk/>
            <pc:sldMk cId="533090875" sldId="270"/>
            <ac:spMk id="11" creationId="{E2569E4E-12C4-48A2-ACDF-46CF98322FEC}"/>
          </ac:spMkLst>
        </pc:spChg>
        <pc:spChg chg="mod topLvl">
          <ac:chgData name="Jithin Thomas" userId="ef6c92be-06f2-4075-bbcf-ed38216b51ac" providerId="ADAL" clId="{237E70BE-1C02-595C-AAD9-EF56B36E7E71}" dt="2025-11-25T10:38:00.342" v="226" actId="164"/>
          <ac:spMkLst>
            <pc:docMk/>
            <pc:sldMk cId="533090875" sldId="270"/>
            <ac:spMk id="12" creationId="{E4DFB5D0-B7E2-857F-42E7-987EC27B2CE6}"/>
          </ac:spMkLst>
        </pc:spChg>
        <pc:spChg chg="mod topLvl">
          <ac:chgData name="Jithin Thomas" userId="ef6c92be-06f2-4075-bbcf-ed38216b51ac" providerId="ADAL" clId="{237E70BE-1C02-595C-AAD9-EF56B36E7E71}" dt="2025-11-25T10:38:00.342" v="226" actId="164"/>
          <ac:spMkLst>
            <pc:docMk/>
            <pc:sldMk cId="533090875" sldId="270"/>
            <ac:spMk id="13" creationId="{3F3474A2-7112-758D-9442-5CBD7F7D5F2F}"/>
          </ac:spMkLst>
        </pc:spChg>
        <pc:spChg chg="mod topLvl">
          <ac:chgData name="Jithin Thomas" userId="ef6c92be-06f2-4075-bbcf-ed38216b51ac" providerId="ADAL" clId="{237E70BE-1C02-595C-AAD9-EF56B36E7E71}" dt="2025-11-25T10:38:00.342" v="226" actId="164"/>
          <ac:spMkLst>
            <pc:docMk/>
            <pc:sldMk cId="533090875" sldId="270"/>
            <ac:spMk id="14" creationId="{4B4E0EBB-15A6-1573-E99A-0A77964B452E}"/>
          </ac:spMkLst>
        </pc:spChg>
        <pc:spChg chg="mod topLvl">
          <ac:chgData name="Jithin Thomas" userId="ef6c92be-06f2-4075-bbcf-ed38216b51ac" providerId="ADAL" clId="{237E70BE-1C02-595C-AAD9-EF56B36E7E71}" dt="2025-11-25T10:38:00.342" v="226" actId="164"/>
          <ac:spMkLst>
            <pc:docMk/>
            <pc:sldMk cId="533090875" sldId="270"/>
            <ac:spMk id="16" creationId="{2419588F-CC2B-75BD-EABE-56BC117C0C88}"/>
          </ac:spMkLst>
        </pc:spChg>
      </pc:sldChg>
      <pc:sldChg chg="modSp mod">
        <pc:chgData name="Jithin Thomas" userId="ef6c92be-06f2-4075-bbcf-ed38216b51ac" providerId="ADAL" clId="{237E70BE-1C02-595C-AAD9-EF56B36E7E71}" dt="2025-11-25T10:34:51.600" v="209" actId="1076"/>
        <pc:sldMkLst>
          <pc:docMk/>
          <pc:sldMk cId="3727598220" sldId="271"/>
        </pc:sldMkLst>
        <pc:spChg chg="mod">
          <ac:chgData name="Jithin Thomas" userId="ef6c92be-06f2-4075-bbcf-ed38216b51ac" providerId="ADAL" clId="{237E70BE-1C02-595C-AAD9-EF56B36E7E71}" dt="2025-11-25T10:34:41.184" v="207"/>
          <ac:spMkLst>
            <pc:docMk/>
            <pc:sldMk cId="3727598220" sldId="271"/>
            <ac:spMk id="12" creationId="{99AF021D-0EE2-B719-52EB-C55DFFCD32DA}"/>
          </ac:spMkLst>
        </pc:spChg>
        <pc:picChg chg="mod">
          <ac:chgData name="Jithin Thomas" userId="ef6c92be-06f2-4075-bbcf-ed38216b51ac" providerId="ADAL" clId="{237E70BE-1C02-595C-AAD9-EF56B36E7E71}" dt="2025-11-25T10:34:51.600" v="209" actId="1076"/>
          <ac:picMkLst>
            <pc:docMk/>
            <pc:sldMk cId="3727598220" sldId="271"/>
            <ac:picMk id="6" creationId="{985FED66-8A96-02D2-FC41-9749704AA6AE}"/>
          </ac:picMkLst>
        </pc:picChg>
      </pc:sldChg>
      <pc:sldChg chg="modSp mod modNotesTx">
        <pc:chgData name="Jithin Thomas" userId="ef6c92be-06f2-4075-bbcf-ed38216b51ac" providerId="ADAL" clId="{237E70BE-1C02-595C-AAD9-EF56B36E7E71}" dt="2025-11-25T12:16:13.602" v="493" actId="14100"/>
        <pc:sldMkLst>
          <pc:docMk/>
          <pc:sldMk cId="262715862" sldId="276"/>
        </pc:sldMkLst>
        <pc:spChg chg="mod">
          <ac:chgData name="Jithin Thomas" userId="ef6c92be-06f2-4075-bbcf-ed38216b51ac" providerId="ADAL" clId="{237E70BE-1C02-595C-AAD9-EF56B36E7E71}" dt="2025-11-25T10:36:34.089" v="216"/>
          <ac:spMkLst>
            <pc:docMk/>
            <pc:sldMk cId="262715862" sldId="276"/>
            <ac:spMk id="4" creationId="{BAF04F57-0FBB-D582-C103-97CBF77597F0}"/>
          </ac:spMkLst>
        </pc:spChg>
        <pc:spChg chg="mod">
          <ac:chgData name="Jithin Thomas" userId="ef6c92be-06f2-4075-bbcf-ed38216b51ac" providerId="ADAL" clId="{237E70BE-1C02-595C-AAD9-EF56B36E7E71}" dt="2025-11-25T10:36:30.479" v="215"/>
          <ac:spMkLst>
            <pc:docMk/>
            <pc:sldMk cId="262715862" sldId="276"/>
            <ac:spMk id="12" creationId="{79B61A5A-9203-A6F6-C7C8-508FCD57D1DA}"/>
          </ac:spMkLst>
        </pc:spChg>
        <pc:picChg chg="mod">
          <ac:chgData name="Jithin Thomas" userId="ef6c92be-06f2-4075-bbcf-ed38216b51ac" providerId="ADAL" clId="{237E70BE-1C02-595C-AAD9-EF56B36E7E71}" dt="2025-11-25T12:16:13.602" v="493" actId="14100"/>
          <ac:picMkLst>
            <pc:docMk/>
            <pc:sldMk cId="262715862" sldId="276"/>
            <ac:picMk id="3" creationId="{2CF68558-CE8D-AC59-4BC9-23081B658117}"/>
          </ac:picMkLst>
        </pc:picChg>
      </pc:sldChg>
      <pc:sldChg chg="addSp delSp modSp mod chgLayout">
        <pc:chgData name="Jithin Thomas" userId="ef6c92be-06f2-4075-bbcf-ed38216b51ac" providerId="ADAL" clId="{237E70BE-1C02-595C-AAD9-EF56B36E7E71}" dt="2025-11-25T12:16:02.630" v="492" actId="1076"/>
        <pc:sldMkLst>
          <pc:docMk/>
          <pc:sldMk cId="3649362828" sldId="279"/>
        </pc:sldMkLst>
        <pc:spChg chg="mod ord">
          <ac:chgData name="Jithin Thomas" userId="ef6c92be-06f2-4075-bbcf-ed38216b51ac" providerId="ADAL" clId="{237E70BE-1C02-595C-AAD9-EF56B36E7E71}" dt="2025-11-25T12:15:56.405" v="488" actId="700"/>
          <ac:spMkLst>
            <pc:docMk/>
            <pc:sldMk cId="3649362828" sldId="279"/>
            <ac:spMk id="4" creationId="{EA2AAC3E-29D0-55AA-7FE5-624DD8DDD7C7}"/>
          </ac:spMkLst>
        </pc:spChg>
        <pc:spChg chg="mod ord">
          <ac:chgData name="Jithin Thomas" userId="ef6c92be-06f2-4075-bbcf-ed38216b51ac" providerId="ADAL" clId="{237E70BE-1C02-595C-AAD9-EF56B36E7E71}" dt="2025-11-25T12:15:56.405" v="488" actId="700"/>
          <ac:spMkLst>
            <pc:docMk/>
            <pc:sldMk cId="3649362828" sldId="279"/>
            <ac:spMk id="12" creationId="{FEB356A4-A69B-86D4-DF1D-8C1C8DB84DDA}"/>
          </ac:spMkLst>
        </pc:spChg>
        <pc:picChg chg="mod">
          <ac:chgData name="Jithin Thomas" userId="ef6c92be-06f2-4075-bbcf-ed38216b51ac" providerId="ADAL" clId="{237E70BE-1C02-595C-AAD9-EF56B36E7E71}" dt="2025-11-25T12:16:02.630" v="492" actId="1076"/>
          <ac:picMkLst>
            <pc:docMk/>
            <pc:sldMk cId="3649362828" sldId="279"/>
            <ac:picMk id="2" creationId="{672E418E-2879-2DC8-7AD3-5BC5E07C3780}"/>
          </ac:picMkLst>
        </pc:picChg>
      </pc:sldChg>
      <pc:sldChg chg="modSp mod chgLayout">
        <pc:chgData name="Jithin Thomas" userId="ef6c92be-06f2-4075-bbcf-ed38216b51ac" providerId="ADAL" clId="{237E70BE-1C02-595C-AAD9-EF56B36E7E71}" dt="2025-11-25T10:39:28.837" v="234" actId="14100"/>
        <pc:sldMkLst>
          <pc:docMk/>
          <pc:sldMk cId="1338668981" sldId="280"/>
        </pc:sldMkLst>
        <pc:spChg chg="mod ord">
          <ac:chgData name="Jithin Thomas" userId="ef6c92be-06f2-4075-bbcf-ed38216b51ac" providerId="ADAL" clId="{237E70BE-1C02-595C-AAD9-EF56B36E7E71}" dt="2025-11-25T10:39:25.854" v="233" actId="700"/>
          <ac:spMkLst>
            <pc:docMk/>
            <pc:sldMk cId="1338668981" sldId="280"/>
            <ac:spMk id="4" creationId="{30A4AB4F-C3B2-0C31-B5CA-0CC2897FB2CC}"/>
          </ac:spMkLst>
        </pc:spChg>
        <pc:spChg chg="mod ord">
          <ac:chgData name="Jithin Thomas" userId="ef6c92be-06f2-4075-bbcf-ed38216b51ac" providerId="ADAL" clId="{237E70BE-1C02-595C-AAD9-EF56B36E7E71}" dt="2025-11-25T10:39:25.854" v="233" actId="700"/>
          <ac:spMkLst>
            <pc:docMk/>
            <pc:sldMk cId="1338668981" sldId="280"/>
            <ac:spMk id="9" creationId="{4052430C-2789-F1AB-0AAE-3D6020C6EDBF}"/>
          </ac:spMkLst>
        </pc:spChg>
        <pc:spChg chg="mod ord">
          <ac:chgData name="Jithin Thomas" userId="ef6c92be-06f2-4075-bbcf-ed38216b51ac" providerId="ADAL" clId="{237E70BE-1C02-595C-AAD9-EF56B36E7E71}" dt="2025-11-25T10:39:28.837" v="234" actId="14100"/>
          <ac:spMkLst>
            <pc:docMk/>
            <pc:sldMk cId="1338668981" sldId="280"/>
            <ac:spMk id="12" creationId="{497A432D-A5D5-A0F8-6EC5-6B6B28DA1DCF}"/>
          </ac:spMkLst>
        </pc:spChg>
      </pc:sldChg>
      <pc:sldChg chg="modSp mod">
        <pc:chgData name="Jithin Thomas" userId="ef6c92be-06f2-4075-bbcf-ed38216b51ac" providerId="ADAL" clId="{237E70BE-1C02-595C-AAD9-EF56B36E7E71}" dt="2025-11-25T10:36:59.746" v="219" actId="14100"/>
        <pc:sldMkLst>
          <pc:docMk/>
          <pc:sldMk cId="27987175" sldId="281"/>
        </pc:sldMkLst>
        <pc:spChg chg="mod">
          <ac:chgData name="Jithin Thomas" userId="ef6c92be-06f2-4075-bbcf-ed38216b51ac" providerId="ADAL" clId="{237E70BE-1C02-595C-AAD9-EF56B36E7E71}" dt="2025-11-25T10:36:56.306" v="218" actId="1076"/>
          <ac:spMkLst>
            <pc:docMk/>
            <pc:sldMk cId="27987175" sldId="281"/>
            <ac:spMk id="3" creationId="{3DCB61C3-086B-74BB-FA3A-2CA90C001F63}"/>
          </ac:spMkLst>
        </pc:spChg>
        <pc:spChg chg="mod">
          <ac:chgData name="Jithin Thomas" userId="ef6c92be-06f2-4075-bbcf-ed38216b51ac" providerId="ADAL" clId="{237E70BE-1C02-595C-AAD9-EF56B36E7E71}" dt="2025-11-25T10:36:59.746" v="219" actId="14100"/>
          <ac:spMkLst>
            <pc:docMk/>
            <pc:sldMk cId="27987175" sldId="281"/>
            <ac:spMk id="12" creationId="{F784BCC4-516C-72A4-9BBC-80AA1CB12E1D}"/>
          </ac:spMkLst>
        </pc:spChg>
        <pc:picChg chg="mod">
          <ac:chgData name="Jithin Thomas" userId="ef6c92be-06f2-4075-bbcf-ed38216b51ac" providerId="ADAL" clId="{237E70BE-1C02-595C-AAD9-EF56B36E7E71}" dt="2025-11-25T10:36:56.306" v="218" actId="1076"/>
          <ac:picMkLst>
            <pc:docMk/>
            <pc:sldMk cId="27987175" sldId="281"/>
            <ac:picMk id="2" creationId="{62075B16-A91B-67E5-4DA5-389DEE964233}"/>
          </ac:picMkLst>
        </pc:picChg>
      </pc:sldChg>
      <pc:sldChg chg="modSp">
        <pc:chgData name="Jithin Thomas" userId="ef6c92be-06f2-4075-bbcf-ed38216b51ac" providerId="ADAL" clId="{237E70BE-1C02-595C-AAD9-EF56B36E7E71}" dt="2025-11-25T12:13:21.740" v="467"/>
        <pc:sldMkLst>
          <pc:docMk/>
          <pc:sldMk cId="433299104" sldId="282"/>
        </pc:sldMkLst>
        <pc:spChg chg="mod">
          <ac:chgData name="Jithin Thomas" userId="ef6c92be-06f2-4075-bbcf-ed38216b51ac" providerId="ADAL" clId="{237E70BE-1C02-595C-AAD9-EF56B36E7E71}" dt="2025-11-25T12:13:21.740" v="467"/>
          <ac:spMkLst>
            <pc:docMk/>
            <pc:sldMk cId="433299104" sldId="282"/>
            <ac:spMk id="2" creationId="{0328C152-13F8-7DD1-BDF7-24192B0377A2}"/>
          </ac:spMkLst>
        </pc:spChg>
      </pc:sldChg>
      <pc:sldChg chg="modSp mod chgLayout">
        <pc:chgData name="Jithin Thomas" userId="ef6c92be-06f2-4075-bbcf-ed38216b51ac" providerId="ADAL" clId="{237E70BE-1C02-595C-AAD9-EF56B36E7E71}" dt="2025-11-25T11:21:12.527" v="301"/>
        <pc:sldMkLst>
          <pc:docMk/>
          <pc:sldMk cId="702913885" sldId="283"/>
        </pc:sldMkLst>
        <pc:spChg chg="mod ord">
          <ac:chgData name="Jithin Thomas" userId="ef6c92be-06f2-4075-bbcf-ed38216b51ac" providerId="ADAL" clId="{237E70BE-1C02-595C-AAD9-EF56B36E7E71}" dt="2025-11-25T11:20:46.793" v="297" actId="700"/>
          <ac:spMkLst>
            <pc:docMk/>
            <pc:sldMk cId="702913885" sldId="283"/>
            <ac:spMk id="4" creationId="{CE638393-FC70-6BF0-9D35-997D40AC8E57}"/>
          </ac:spMkLst>
        </pc:spChg>
        <pc:spChg chg="mod ord">
          <ac:chgData name="Jithin Thomas" userId="ef6c92be-06f2-4075-bbcf-ed38216b51ac" providerId="ADAL" clId="{237E70BE-1C02-595C-AAD9-EF56B36E7E71}" dt="2025-11-25T11:20:46.793" v="297" actId="700"/>
          <ac:spMkLst>
            <pc:docMk/>
            <pc:sldMk cId="702913885" sldId="283"/>
            <ac:spMk id="9" creationId="{70C61982-A779-E2F7-4DF0-1884B725838D}"/>
          </ac:spMkLst>
        </pc:spChg>
        <pc:spChg chg="mod ord">
          <ac:chgData name="Jithin Thomas" userId="ef6c92be-06f2-4075-bbcf-ed38216b51ac" providerId="ADAL" clId="{237E70BE-1C02-595C-AAD9-EF56B36E7E71}" dt="2025-11-25T11:21:12.527" v="301"/>
          <ac:spMkLst>
            <pc:docMk/>
            <pc:sldMk cId="702913885" sldId="283"/>
            <ac:spMk id="12" creationId="{C443E6BD-CDA3-8D58-E94A-2160BE046FCB}"/>
          </ac:spMkLst>
        </pc:spChg>
        <pc:picChg chg="mod">
          <ac:chgData name="Jithin Thomas" userId="ef6c92be-06f2-4075-bbcf-ed38216b51ac" providerId="ADAL" clId="{237E70BE-1C02-595C-AAD9-EF56B36E7E71}" dt="2025-11-25T11:21:02.679" v="300" actId="14100"/>
          <ac:picMkLst>
            <pc:docMk/>
            <pc:sldMk cId="702913885" sldId="283"/>
            <ac:picMk id="5" creationId="{787FE77E-8085-4C8F-AE37-3CDB3D85CEE3}"/>
          </ac:picMkLst>
        </pc:picChg>
      </pc:sldChg>
      <pc:sldChg chg="modSp mod chgLayout">
        <pc:chgData name="Jithin Thomas" userId="ef6c92be-06f2-4075-bbcf-ed38216b51ac" providerId="ADAL" clId="{237E70BE-1C02-595C-AAD9-EF56B36E7E71}" dt="2025-11-25T12:07:26.913" v="385" actId="20577"/>
        <pc:sldMkLst>
          <pc:docMk/>
          <pc:sldMk cId="3176306791" sldId="284"/>
        </pc:sldMkLst>
        <pc:spChg chg="mod ord">
          <ac:chgData name="Jithin Thomas" userId="ef6c92be-06f2-4075-bbcf-ed38216b51ac" providerId="ADAL" clId="{237E70BE-1C02-595C-AAD9-EF56B36E7E71}" dt="2025-11-25T12:07:04.491" v="381" actId="700"/>
          <ac:spMkLst>
            <pc:docMk/>
            <pc:sldMk cId="3176306791" sldId="284"/>
            <ac:spMk id="4" creationId="{E64F2878-DFC8-4C21-37DC-3DB8F490595C}"/>
          </ac:spMkLst>
        </pc:spChg>
        <pc:spChg chg="mod ord">
          <ac:chgData name="Jithin Thomas" userId="ef6c92be-06f2-4075-bbcf-ed38216b51ac" providerId="ADAL" clId="{237E70BE-1C02-595C-AAD9-EF56B36E7E71}" dt="2025-11-25T12:07:04.491" v="381" actId="700"/>
          <ac:spMkLst>
            <pc:docMk/>
            <pc:sldMk cId="3176306791" sldId="284"/>
            <ac:spMk id="9" creationId="{4DF21F25-5781-B3FD-73DA-3317473FE9EC}"/>
          </ac:spMkLst>
        </pc:spChg>
        <pc:spChg chg="mod ord">
          <ac:chgData name="Jithin Thomas" userId="ef6c92be-06f2-4075-bbcf-ed38216b51ac" providerId="ADAL" clId="{237E70BE-1C02-595C-AAD9-EF56B36E7E71}" dt="2025-11-25T12:07:26.913" v="385" actId="20577"/>
          <ac:spMkLst>
            <pc:docMk/>
            <pc:sldMk cId="3176306791" sldId="284"/>
            <ac:spMk id="12" creationId="{AF752D05-2477-137B-EC22-8C4F9F77F1F6}"/>
          </ac:spMkLst>
        </pc:spChg>
      </pc:sldChg>
      <pc:sldChg chg="addSp delSp modSp mod chgLayout">
        <pc:chgData name="Jithin Thomas" userId="ef6c92be-06f2-4075-bbcf-ed38216b51ac" providerId="ADAL" clId="{237E70BE-1C02-595C-AAD9-EF56B36E7E71}" dt="2025-11-25T11:21:45.862" v="308" actId="478"/>
        <pc:sldMkLst>
          <pc:docMk/>
          <pc:sldMk cId="2584204427" sldId="285"/>
        </pc:sldMkLst>
        <pc:spChg chg="mod ord">
          <ac:chgData name="Jithin Thomas" userId="ef6c92be-06f2-4075-bbcf-ed38216b51ac" providerId="ADAL" clId="{237E70BE-1C02-595C-AAD9-EF56B36E7E71}" dt="2025-11-25T11:21:38.633" v="304" actId="700"/>
          <ac:spMkLst>
            <pc:docMk/>
            <pc:sldMk cId="2584204427" sldId="285"/>
            <ac:spMk id="4" creationId="{D5FC8820-4055-A734-653C-F36C18A81CA2}"/>
          </ac:spMkLst>
        </pc:spChg>
        <pc:spChg chg="mod ord">
          <ac:chgData name="Jithin Thomas" userId="ef6c92be-06f2-4075-bbcf-ed38216b51ac" providerId="ADAL" clId="{237E70BE-1C02-595C-AAD9-EF56B36E7E71}" dt="2025-11-25T11:21:41.311" v="305" actId="14100"/>
          <ac:spMkLst>
            <pc:docMk/>
            <pc:sldMk cId="2584204427" sldId="285"/>
            <ac:spMk id="12" creationId="{9AA8C962-3F53-257D-00F9-D85C005F398C}"/>
          </ac:spMkLst>
        </pc:spChg>
        <pc:picChg chg="mod">
          <ac:chgData name="Jithin Thomas" userId="ef6c92be-06f2-4075-bbcf-ed38216b51ac" providerId="ADAL" clId="{237E70BE-1C02-595C-AAD9-EF56B36E7E71}" dt="2025-11-25T11:21:44.188" v="307" actId="1076"/>
          <ac:picMkLst>
            <pc:docMk/>
            <pc:sldMk cId="2584204427" sldId="285"/>
            <ac:picMk id="2" creationId="{5CE27853-A66A-DE4E-A522-1BE7A23817AB}"/>
          </ac:picMkLst>
        </pc:picChg>
      </pc:sldChg>
      <pc:sldChg chg="modSp mod">
        <pc:chgData name="Jithin Thomas" userId="ef6c92be-06f2-4075-bbcf-ed38216b51ac" providerId="ADAL" clId="{237E70BE-1C02-595C-AAD9-EF56B36E7E71}" dt="2025-11-25T11:19:29.504" v="280" actId="1076"/>
        <pc:sldMkLst>
          <pc:docMk/>
          <pc:sldMk cId="525190870" sldId="288"/>
        </pc:sldMkLst>
        <pc:spChg chg="mod">
          <ac:chgData name="Jithin Thomas" userId="ef6c92be-06f2-4075-bbcf-ed38216b51ac" providerId="ADAL" clId="{237E70BE-1C02-595C-AAD9-EF56B36E7E71}" dt="2025-11-25T11:19:25.586" v="278" actId="14100"/>
          <ac:spMkLst>
            <pc:docMk/>
            <pc:sldMk cId="525190870" sldId="288"/>
            <ac:spMk id="12" creationId="{D299ABBA-F94F-38E6-3401-D0B4CEA1315B}"/>
          </ac:spMkLst>
        </pc:spChg>
        <pc:picChg chg="mod">
          <ac:chgData name="Jithin Thomas" userId="ef6c92be-06f2-4075-bbcf-ed38216b51ac" providerId="ADAL" clId="{237E70BE-1C02-595C-AAD9-EF56B36E7E71}" dt="2025-11-25T11:19:29.504" v="280" actId="1076"/>
          <ac:picMkLst>
            <pc:docMk/>
            <pc:sldMk cId="525190870" sldId="288"/>
            <ac:picMk id="2" creationId="{1531AF15-49C3-7FDC-9EC9-140F0B179407}"/>
          </ac:picMkLst>
        </pc:picChg>
      </pc:sldChg>
      <pc:sldChg chg="modSp mod chgLayout">
        <pc:chgData name="Jithin Thomas" userId="ef6c92be-06f2-4075-bbcf-ed38216b51ac" providerId="ADAL" clId="{237E70BE-1C02-595C-AAD9-EF56B36E7E71}" dt="2025-11-25T11:18:28.399" v="270"/>
        <pc:sldMkLst>
          <pc:docMk/>
          <pc:sldMk cId="3973805266" sldId="289"/>
        </pc:sldMkLst>
        <pc:spChg chg="mod ord">
          <ac:chgData name="Jithin Thomas" userId="ef6c92be-06f2-4075-bbcf-ed38216b51ac" providerId="ADAL" clId="{237E70BE-1C02-595C-AAD9-EF56B36E7E71}" dt="2025-11-25T11:18:20.600" v="268" actId="700"/>
          <ac:spMkLst>
            <pc:docMk/>
            <pc:sldMk cId="3973805266" sldId="289"/>
            <ac:spMk id="4" creationId="{6FC1EF72-375D-EEE3-89C7-B1E3863D36C7}"/>
          </ac:spMkLst>
        </pc:spChg>
        <pc:spChg chg="mod ord">
          <ac:chgData name="Jithin Thomas" userId="ef6c92be-06f2-4075-bbcf-ed38216b51ac" providerId="ADAL" clId="{237E70BE-1C02-595C-AAD9-EF56B36E7E71}" dt="2025-11-25T11:18:20.600" v="268" actId="700"/>
          <ac:spMkLst>
            <pc:docMk/>
            <pc:sldMk cId="3973805266" sldId="289"/>
            <ac:spMk id="9" creationId="{2B736C5C-CC2B-959B-B4A1-72FE58B6B380}"/>
          </ac:spMkLst>
        </pc:spChg>
        <pc:spChg chg="mod ord">
          <ac:chgData name="Jithin Thomas" userId="ef6c92be-06f2-4075-bbcf-ed38216b51ac" providerId="ADAL" clId="{237E70BE-1C02-595C-AAD9-EF56B36E7E71}" dt="2025-11-25T11:18:28.399" v="270"/>
          <ac:spMkLst>
            <pc:docMk/>
            <pc:sldMk cId="3973805266" sldId="289"/>
            <ac:spMk id="12" creationId="{40A5FDC6-1DB2-3331-56B2-C6B3FF2C101E}"/>
          </ac:spMkLst>
        </pc:spChg>
      </pc:sldChg>
      <pc:sldChg chg="modSp mod chgLayout">
        <pc:chgData name="Jithin Thomas" userId="ef6c92be-06f2-4075-bbcf-ed38216b51ac" providerId="ADAL" clId="{237E70BE-1C02-595C-AAD9-EF56B36E7E71}" dt="2025-11-25T11:18:45.515" v="274" actId="14100"/>
        <pc:sldMkLst>
          <pc:docMk/>
          <pc:sldMk cId="2733790652" sldId="291"/>
        </pc:sldMkLst>
        <pc:spChg chg="mod ord">
          <ac:chgData name="Jithin Thomas" userId="ef6c92be-06f2-4075-bbcf-ed38216b51ac" providerId="ADAL" clId="{237E70BE-1C02-595C-AAD9-EF56B36E7E71}" dt="2025-11-25T11:18:43.192" v="273" actId="700"/>
          <ac:spMkLst>
            <pc:docMk/>
            <pc:sldMk cId="2733790652" sldId="291"/>
            <ac:spMk id="4" creationId="{4F1443FB-2882-6DE0-C3B6-EA4CEEE75838}"/>
          </ac:spMkLst>
        </pc:spChg>
        <pc:spChg chg="mod ord">
          <ac:chgData name="Jithin Thomas" userId="ef6c92be-06f2-4075-bbcf-ed38216b51ac" providerId="ADAL" clId="{237E70BE-1C02-595C-AAD9-EF56B36E7E71}" dt="2025-11-25T11:18:43.192" v="273" actId="700"/>
          <ac:spMkLst>
            <pc:docMk/>
            <pc:sldMk cId="2733790652" sldId="291"/>
            <ac:spMk id="9" creationId="{9B7D67A3-8B48-EA72-2F04-3399240CCB96}"/>
          </ac:spMkLst>
        </pc:spChg>
        <pc:spChg chg="mod ord">
          <ac:chgData name="Jithin Thomas" userId="ef6c92be-06f2-4075-bbcf-ed38216b51ac" providerId="ADAL" clId="{237E70BE-1C02-595C-AAD9-EF56B36E7E71}" dt="2025-11-25T11:18:45.515" v="274" actId="14100"/>
          <ac:spMkLst>
            <pc:docMk/>
            <pc:sldMk cId="2733790652" sldId="291"/>
            <ac:spMk id="12" creationId="{CEBB687E-DDD6-A169-14FB-A0236A6D3B30}"/>
          </ac:spMkLst>
        </pc:spChg>
        <pc:picChg chg="mod">
          <ac:chgData name="Jithin Thomas" userId="ef6c92be-06f2-4075-bbcf-ed38216b51ac" providerId="ADAL" clId="{237E70BE-1C02-595C-AAD9-EF56B36E7E71}" dt="2025-11-25T11:18:39.531" v="272" actId="1076"/>
          <ac:picMkLst>
            <pc:docMk/>
            <pc:sldMk cId="2733790652" sldId="291"/>
            <ac:picMk id="2" creationId="{633C364D-6680-11EB-914C-5EB3E32F3B8E}"/>
          </ac:picMkLst>
        </pc:picChg>
      </pc:sldChg>
      <pc:sldChg chg="modSp mod">
        <pc:chgData name="Jithin Thomas" userId="ef6c92be-06f2-4075-bbcf-ed38216b51ac" providerId="ADAL" clId="{237E70BE-1C02-595C-AAD9-EF56B36E7E71}" dt="2025-11-25T12:01:02.005" v="309" actId="207"/>
        <pc:sldMkLst>
          <pc:docMk/>
          <pc:sldMk cId="3324494574" sldId="292"/>
        </pc:sldMkLst>
        <pc:spChg chg="mod">
          <ac:chgData name="Jithin Thomas" userId="ef6c92be-06f2-4075-bbcf-ed38216b51ac" providerId="ADAL" clId="{237E70BE-1C02-595C-AAD9-EF56B36E7E71}" dt="2025-11-25T12:01:02.005" v="309" actId="207"/>
          <ac:spMkLst>
            <pc:docMk/>
            <pc:sldMk cId="3324494574" sldId="292"/>
            <ac:spMk id="2" creationId="{990AF7A1-60E8-6E09-E20C-790296E3BA53}"/>
          </ac:spMkLst>
        </pc:spChg>
      </pc:sldChg>
      <pc:sldChg chg="addSp delSp modSp mod chgLayout">
        <pc:chgData name="Jithin Thomas" userId="ef6c92be-06f2-4075-bbcf-ed38216b51ac" providerId="ADAL" clId="{237E70BE-1C02-595C-AAD9-EF56B36E7E71}" dt="2025-11-25T12:01:16.449" v="313" actId="1076"/>
        <pc:sldMkLst>
          <pc:docMk/>
          <pc:sldMk cId="4154306706" sldId="293"/>
        </pc:sldMkLst>
        <pc:spChg chg="mod">
          <ac:chgData name="Jithin Thomas" userId="ef6c92be-06f2-4075-bbcf-ed38216b51ac" providerId="ADAL" clId="{237E70BE-1C02-595C-AAD9-EF56B36E7E71}" dt="2025-11-25T12:01:16.449" v="313" actId="1076"/>
          <ac:spMkLst>
            <pc:docMk/>
            <pc:sldMk cId="4154306706" sldId="293"/>
            <ac:spMk id="3" creationId="{BE51E659-2F1E-8B8D-A18D-630F2BA47EA1}"/>
          </ac:spMkLst>
        </pc:spChg>
        <pc:spChg chg="mod ord">
          <ac:chgData name="Jithin Thomas" userId="ef6c92be-06f2-4075-bbcf-ed38216b51ac" providerId="ADAL" clId="{237E70BE-1C02-595C-AAD9-EF56B36E7E71}" dt="2025-11-25T12:01:07.779" v="310" actId="700"/>
          <ac:spMkLst>
            <pc:docMk/>
            <pc:sldMk cId="4154306706" sldId="293"/>
            <ac:spMk id="4" creationId="{A52F52EA-0ABD-C06D-03F9-CA0A3621D80D}"/>
          </ac:spMkLst>
        </pc:spChg>
        <pc:spChg chg="mod">
          <ac:chgData name="Jithin Thomas" userId="ef6c92be-06f2-4075-bbcf-ed38216b51ac" providerId="ADAL" clId="{237E70BE-1C02-595C-AAD9-EF56B36E7E71}" dt="2025-11-25T12:01:16.449" v="313" actId="1076"/>
          <ac:spMkLst>
            <pc:docMk/>
            <pc:sldMk cId="4154306706" sldId="293"/>
            <ac:spMk id="5" creationId="{1616CC4F-B410-A934-C38F-66C9A8224A75}"/>
          </ac:spMkLst>
        </pc:spChg>
        <pc:spChg chg="mod ord">
          <ac:chgData name="Jithin Thomas" userId="ef6c92be-06f2-4075-bbcf-ed38216b51ac" providerId="ADAL" clId="{237E70BE-1C02-595C-AAD9-EF56B36E7E71}" dt="2025-11-25T12:01:10.798" v="311" actId="14100"/>
          <ac:spMkLst>
            <pc:docMk/>
            <pc:sldMk cId="4154306706" sldId="293"/>
            <ac:spMk id="12" creationId="{31284CD7-0A0C-23D7-2688-F5AE4C15E0F6}"/>
          </ac:spMkLst>
        </pc:spChg>
        <pc:picChg chg="mod">
          <ac:chgData name="Jithin Thomas" userId="ef6c92be-06f2-4075-bbcf-ed38216b51ac" providerId="ADAL" clId="{237E70BE-1C02-595C-AAD9-EF56B36E7E71}" dt="2025-11-25T12:01:16.449" v="313" actId="1076"/>
          <ac:picMkLst>
            <pc:docMk/>
            <pc:sldMk cId="4154306706" sldId="293"/>
            <ac:picMk id="2" creationId="{3507B6D1-DCEF-10A9-F855-41D8E63A2AE0}"/>
          </ac:picMkLst>
        </pc:picChg>
      </pc:sldChg>
      <pc:sldChg chg="modSp mod">
        <pc:chgData name="Jithin Thomas" userId="ef6c92be-06f2-4075-bbcf-ed38216b51ac" providerId="ADAL" clId="{237E70BE-1C02-595C-AAD9-EF56B36E7E71}" dt="2025-11-25T12:01:33.514" v="315" actId="14100"/>
        <pc:sldMkLst>
          <pc:docMk/>
          <pc:sldMk cId="4038248417" sldId="294"/>
        </pc:sldMkLst>
        <pc:spChg chg="mod">
          <ac:chgData name="Jithin Thomas" userId="ef6c92be-06f2-4075-bbcf-ed38216b51ac" providerId="ADAL" clId="{237E70BE-1C02-595C-AAD9-EF56B36E7E71}" dt="2025-11-25T12:01:31.438" v="314" actId="1076"/>
          <ac:spMkLst>
            <pc:docMk/>
            <pc:sldMk cId="4038248417" sldId="294"/>
            <ac:spMk id="3" creationId="{256CDB70-9926-1FB8-C954-E0ED6E305FAD}"/>
          </ac:spMkLst>
        </pc:spChg>
        <pc:spChg chg="mod">
          <ac:chgData name="Jithin Thomas" userId="ef6c92be-06f2-4075-bbcf-ed38216b51ac" providerId="ADAL" clId="{237E70BE-1C02-595C-AAD9-EF56B36E7E71}" dt="2025-11-25T12:01:33.514" v="315" actId="14100"/>
          <ac:spMkLst>
            <pc:docMk/>
            <pc:sldMk cId="4038248417" sldId="294"/>
            <ac:spMk id="12" creationId="{D4EEFC75-6B45-189D-0146-BE31C8AC7984}"/>
          </ac:spMkLst>
        </pc:spChg>
        <pc:picChg chg="mod">
          <ac:chgData name="Jithin Thomas" userId="ef6c92be-06f2-4075-bbcf-ed38216b51ac" providerId="ADAL" clId="{237E70BE-1C02-595C-AAD9-EF56B36E7E71}" dt="2025-11-25T12:01:31.438" v="314" actId="1076"/>
          <ac:picMkLst>
            <pc:docMk/>
            <pc:sldMk cId="4038248417" sldId="294"/>
            <ac:picMk id="2" creationId="{66D99B57-DB77-ED0F-1DD2-895D200FE0C1}"/>
          </ac:picMkLst>
        </pc:picChg>
      </pc:sldChg>
      <pc:sldChg chg="modSp mod chgLayout">
        <pc:chgData name="Jithin Thomas" userId="ef6c92be-06f2-4075-bbcf-ed38216b51ac" providerId="ADAL" clId="{237E70BE-1C02-595C-AAD9-EF56B36E7E71}" dt="2025-11-25T12:02:25.767" v="325" actId="1076"/>
        <pc:sldMkLst>
          <pc:docMk/>
          <pc:sldMk cId="1430984181" sldId="295"/>
        </pc:sldMkLst>
        <pc:spChg chg="mod ord">
          <ac:chgData name="Jithin Thomas" userId="ef6c92be-06f2-4075-bbcf-ed38216b51ac" providerId="ADAL" clId="{237E70BE-1C02-595C-AAD9-EF56B36E7E71}" dt="2025-11-25T12:02:18.935" v="322" actId="700"/>
          <ac:spMkLst>
            <pc:docMk/>
            <pc:sldMk cId="1430984181" sldId="295"/>
            <ac:spMk id="4" creationId="{A720B4E4-0546-BA26-0D9A-9F5D643787C6}"/>
          </ac:spMkLst>
        </pc:spChg>
        <pc:spChg chg="mod ord">
          <ac:chgData name="Jithin Thomas" userId="ef6c92be-06f2-4075-bbcf-ed38216b51ac" providerId="ADAL" clId="{237E70BE-1C02-595C-AAD9-EF56B36E7E71}" dt="2025-11-25T12:02:18.935" v="322" actId="700"/>
          <ac:spMkLst>
            <pc:docMk/>
            <pc:sldMk cId="1430984181" sldId="295"/>
            <ac:spMk id="9" creationId="{6F4C40FC-EA14-E312-2BC0-AFEE2491AD5F}"/>
          </ac:spMkLst>
        </pc:spChg>
        <pc:spChg chg="mod ord">
          <ac:chgData name="Jithin Thomas" userId="ef6c92be-06f2-4075-bbcf-ed38216b51ac" providerId="ADAL" clId="{237E70BE-1C02-595C-AAD9-EF56B36E7E71}" dt="2025-11-25T12:02:21.687" v="323" actId="14100"/>
          <ac:spMkLst>
            <pc:docMk/>
            <pc:sldMk cId="1430984181" sldId="295"/>
            <ac:spMk id="12" creationId="{C65941E8-CB18-78DC-59A7-2BDBD582237C}"/>
          </ac:spMkLst>
        </pc:spChg>
        <pc:picChg chg="mod">
          <ac:chgData name="Jithin Thomas" userId="ef6c92be-06f2-4075-bbcf-ed38216b51ac" providerId="ADAL" clId="{237E70BE-1C02-595C-AAD9-EF56B36E7E71}" dt="2025-11-25T12:02:25.767" v="325" actId="1076"/>
          <ac:picMkLst>
            <pc:docMk/>
            <pc:sldMk cId="1430984181" sldId="295"/>
            <ac:picMk id="5" creationId="{5355C8CE-70F6-010F-4A12-0E5E703F0BDF}"/>
          </ac:picMkLst>
        </pc:picChg>
      </pc:sldChg>
      <pc:sldChg chg="addSp delSp modSp mod modClrScheme chgLayout">
        <pc:chgData name="Jithin Thomas" userId="ef6c92be-06f2-4075-bbcf-ed38216b51ac" providerId="ADAL" clId="{237E70BE-1C02-595C-AAD9-EF56B36E7E71}" dt="2025-11-25T12:10:22.208" v="421" actId="478"/>
        <pc:sldMkLst>
          <pc:docMk/>
          <pc:sldMk cId="685307350" sldId="296"/>
        </pc:sldMkLst>
        <pc:spChg chg="mod ord">
          <ac:chgData name="Jithin Thomas" userId="ef6c92be-06f2-4075-bbcf-ed38216b51ac" providerId="ADAL" clId="{237E70BE-1C02-595C-AAD9-EF56B36E7E71}" dt="2025-11-25T12:10:19.994" v="420" actId="700"/>
          <ac:spMkLst>
            <pc:docMk/>
            <pc:sldMk cId="685307350" sldId="296"/>
            <ac:spMk id="2" creationId="{9E150F44-DF4A-D77C-3517-70D6B7056ED1}"/>
          </ac:spMkLst>
        </pc:spChg>
      </pc:sldChg>
      <pc:sldChg chg="modSp mod">
        <pc:chgData name="Jithin Thomas" userId="ef6c92be-06f2-4075-bbcf-ed38216b51ac" providerId="ADAL" clId="{237E70BE-1C02-595C-AAD9-EF56B36E7E71}" dt="2025-11-25T12:11:33.840" v="460" actId="20577"/>
        <pc:sldMkLst>
          <pc:docMk/>
          <pc:sldMk cId="1209459146" sldId="298"/>
        </pc:sldMkLst>
        <pc:spChg chg="mod">
          <ac:chgData name="Jithin Thomas" userId="ef6c92be-06f2-4075-bbcf-ed38216b51ac" providerId="ADAL" clId="{237E70BE-1C02-595C-AAD9-EF56B36E7E71}" dt="2025-11-25T12:11:33.840" v="460" actId="20577"/>
          <ac:spMkLst>
            <pc:docMk/>
            <pc:sldMk cId="1209459146" sldId="298"/>
            <ac:spMk id="10" creationId="{4A5220AB-8D55-F6A8-D751-6A1A3050DCBA}"/>
          </ac:spMkLst>
        </pc:spChg>
        <pc:spChg chg="mod">
          <ac:chgData name="Jithin Thomas" userId="ef6c92be-06f2-4075-bbcf-ed38216b51ac" providerId="ADAL" clId="{237E70BE-1C02-595C-AAD9-EF56B36E7E71}" dt="2025-11-25T12:10:41.303" v="422" actId="20577"/>
          <ac:spMkLst>
            <pc:docMk/>
            <pc:sldMk cId="1209459146" sldId="298"/>
            <ac:spMk id="14" creationId="{685A6CEF-0208-91C8-E724-1072B035402D}"/>
          </ac:spMkLst>
        </pc:spChg>
      </pc:sldChg>
      <pc:sldChg chg="modSp mod">
        <pc:chgData name="Jithin Thomas" userId="ef6c92be-06f2-4075-bbcf-ed38216b51ac" providerId="ADAL" clId="{237E70BE-1C02-595C-AAD9-EF56B36E7E71}" dt="2025-11-25T12:12:56.350" v="462" actId="313"/>
        <pc:sldMkLst>
          <pc:docMk/>
          <pc:sldMk cId="2583912829" sldId="299"/>
        </pc:sldMkLst>
        <pc:spChg chg="mod">
          <ac:chgData name="Jithin Thomas" userId="ef6c92be-06f2-4075-bbcf-ed38216b51ac" providerId="ADAL" clId="{237E70BE-1C02-595C-AAD9-EF56B36E7E71}" dt="2025-11-25T12:12:56.350" v="462" actId="313"/>
          <ac:spMkLst>
            <pc:docMk/>
            <pc:sldMk cId="2583912829" sldId="299"/>
            <ac:spMk id="4" creationId="{EFFBB962-8851-6D65-1BCB-02EA089CD063}"/>
          </ac:spMkLst>
        </pc:spChg>
      </pc:sldChg>
      <pc:sldChg chg="addSp delSp modSp mod chgLayout">
        <pc:chgData name="Jithin Thomas" userId="ef6c92be-06f2-4075-bbcf-ed38216b51ac" providerId="ADAL" clId="{237E70BE-1C02-595C-AAD9-EF56B36E7E71}" dt="2025-11-25T12:02:45.345" v="332" actId="1076"/>
        <pc:sldMkLst>
          <pc:docMk/>
          <pc:sldMk cId="1383728816" sldId="302"/>
        </pc:sldMkLst>
        <pc:spChg chg="mod ord">
          <ac:chgData name="Jithin Thomas" userId="ef6c92be-06f2-4075-bbcf-ed38216b51ac" providerId="ADAL" clId="{237E70BE-1C02-595C-AAD9-EF56B36E7E71}" dt="2025-11-25T12:02:37.070" v="328" actId="700"/>
          <ac:spMkLst>
            <pc:docMk/>
            <pc:sldMk cId="1383728816" sldId="302"/>
            <ac:spMk id="4" creationId="{70C9EB5D-B1B8-926C-B32E-B7F426A0BF50}"/>
          </ac:spMkLst>
        </pc:spChg>
        <pc:spChg chg="mod ord">
          <ac:chgData name="Jithin Thomas" userId="ef6c92be-06f2-4075-bbcf-ed38216b51ac" providerId="ADAL" clId="{237E70BE-1C02-595C-AAD9-EF56B36E7E71}" dt="2025-11-25T12:02:40.087" v="329" actId="14100"/>
          <ac:spMkLst>
            <pc:docMk/>
            <pc:sldMk cId="1383728816" sldId="302"/>
            <ac:spMk id="12" creationId="{5BC4AC09-C147-00C1-4DEC-8B38D8C63775}"/>
          </ac:spMkLst>
        </pc:spChg>
        <pc:picChg chg="mod">
          <ac:chgData name="Jithin Thomas" userId="ef6c92be-06f2-4075-bbcf-ed38216b51ac" providerId="ADAL" clId="{237E70BE-1C02-595C-AAD9-EF56B36E7E71}" dt="2025-11-25T12:02:45.345" v="332" actId="1076"/>
          <ac:picMkLst>
            <pc:docMk/>
            <pc:sldMk cId="1383728816" sldId="302"/>
            <ac:picMk id="2" creationId="{CAA0F3D8-97EA-E586-7402-881AA5A5F9E6}"/>
          </ac:picMkLst>
        </pc:picChg>
      </pc:sldChg>
      <pc:sldChg chg="modSp mod chgLayout">
        <pc:chgData name="Jithin Thomas" userId="ef6c92be-06f2-4075-bbcf-ed38216b51ac" providerId="ADAL" clId="{237E70BE-1C02-595C-AAD9-EF56B36E7E71}" dt="2025-11-25T12:03:16.659" v="337" actId="14100"/>
        <pc:sldMkLst>
          <pc:docMk/>
          <pc:sldMk cId="1562549507" sldId="303"/>
        </pc:sldMkLst>
        <pc:spChg chg="mod ord">
          <ac:chgData name="Jithin Thomas" userId="ef6c92be-06f2-4075-bbcf-ed38216b51ac" providerId="ADAL" clId="{237E70BE-1C02-595C-AAD9-EF56B36E7E71}" dt="2025-11-25T12:02:58.542" v="333" actId="700"/>
          <ac:spMkLst>
            <pc:docMk/>
            <pc:sldMk cId="1562549507" sldId="303"/>
            <ac:spMk id="4" creationId="{CB8AFEDC-A63B-2C08-74B9-58F75E08A7F5}"/>
          </ac:spMkLst>
        </pc:spChg>
        <pc:spChg chg="mod ord">
          <ac:chgData name="Jithin Thomas" userId="ef6c92be-06f2-4075-bbcf-ed38216b51ac" providerId="ADAL" clId="{237E70BE-1C02-595C-AAD9-EF56B36E7E71}" dt="2025-11-25T12:03:07.856" v="335"/>
          <ac:spMkLst>
            <pc:docMk/>
            <pc:sldMk cId="1562549507" sldId="303"/>
            <ac:spMk id="9" creationId="{36AF6384-CB83-D43D-6315-006C1A7DF6CD}"/>
          </ac:spMkLst>
        </pc:spChg>
        <pc:spChg chg="mod ord">
          <ac:chgData name="Jithin Thomas" userId="ef6c92be-06f2-4075-bbcf-ed38216b51ac" providerId="ADAL" clId="{237E70BE-1C02-595C-AAD9-EF56B36E7E71}" dt="2025-11-25T12:03:16.659" v="337" actId="14100"/>
          <ac:spMkLst>
            <pc:docMk/>
            <pc:sldMk cId="1562549507" sldId="303"/>
            <ac:spMk id="12" creationId="{FD08F3AC-E2E6-950C-D4F4-085B8EBF3022}"/>
          </ac:spMkLst>
        </pc:spChg>
      </pc:sldChg>
      <pc:sldChg chg="modSp mod">
        <pc:chgData name="Jithin Thomas" userId="ef6c92be-06f2-4075-bbcf-ed38216b51ac" providerId="ADAL" clId="{237E70BE-1C02-595C-AAD9-EF56B36E7E71}" dt="2025-11-25T11:19:04.544" v="275" actId="14100"/>
        <pc:sldMkLst>
          <pc:docMk/>
          <pc:sldMk cId="1051688838" sldId="304"/>
        </pc:sldMkLst>
        <pc:picChg chg="mod">
          <ac:chgData name="Jithin Thomas" userId="ef6c92be-06f2-4075-bbcf-ed38216b51ac" providerId="ADAL" clId="{237E70BE-1C02-595C-AAD9-EF56B36E7E71}" dt="2025-11-25T11:19:04.544" v="275" actId="14100"/>
          <ac:picMkLst>
            <pc:docMk/>
            <pc:sldMk cId="1051688838" sldId="304"/>
            <ac:picMk id="2" creationId="{4A8CAC15-7C40-1CC3-60F9-48978A8F1C7B}"/>
          </ac:picMkLst>
        </pc:picChg>
      </pc:sldChg>
      <pc:sldChg chg="addSp delSp modSp mod chgLayout">
        <pc:chgData name="Jithin Thomas" userId="ef6c92be-06f2-4075-bbcf-ed38216b51ac" providerId="ADAL" clId="{237E70BE-1C02-595C-AAD9-EF56B36E7E71}" dt="2025-11-25T11:19:42.933" v="283" actId="478"/>
        <pc:sldMkLst>
          <pc:docMk/>
          <pc:sldMk cId="483752635" sldId="305"/>
        </pc:sldMkLst>
        <pc:spChg chg="mod ord">
          <ac:chgData name="Jithin Thomas" userId="ef6c92be-06f2-4075-bbcf-ed38216b51ac" providerId="ADAL" clId="{237E70BE-1C02-595C-AAD9-EF56B36E7E71}" dt="2025-11-25T11:19:37.531" v="281" actId="700"/>
          <ac:spMkLst>
            <pc:docMk/>
            <pc:sldMk cId="483752635" sldId="305"/>
            <ac:spMk id="4" creationId="{D6349151-76C2-00C2-E92C-C656F487D648}"/>
          </ac:spMkLst>
        </pc:spChg>
        <pc:spChg chg="mod ord">
          <ac:chgData name="Jithin Thomas" userId="ef6c92be-06f2-4075-bbcf-ed38216b51ac" providerId="ADAL" clId="{237E70BE-1C02-595C-AAD9-EF56B36E7E71}" dt="2025-11-25T11:19:40.728" v="282" actId="14100"/>
          <ac:spMkLst>
            <pc:docMk/>
            <pc:sldMk cId="483752635" sldId="305"/>
            <ac:spMk id="12" creationId="{43D50A0D-2824-5151-2149-500B138989FC}"/>
          </ac:spMkLst>
        </pc:spChg>
      </pc:sldChg>
      <pc:sldChg chg="modSp mod chgLayout">
        <pc:chgData name="Jithin Thomas" userId="ef6c92be-06f2-4075-bbcf-ed38216b51ac" providerId="ADAL" clId="{237E70BE-1C02-595C-AAD9-EF56B36E7E71}" dt="2025-11-25T11:20:36.813" v="296" actId="1076"/>
        <pc:sldMkLst>
          <pc:docMk/>
          <pc:sldMk cId="1316154672" sldId="306"/>
        </pc:sldMkLst>
        <pc:spChg chg="mod ord">
          <ac:chgData name="Jithin Thomas" userId="ef6c92be-06f2-4075-bbcf-ed38216b51ac" providerId="ADAL" clId="{237E70BE-1C02-595C-AAD9-EF56B36E7E71}" dt="2025-11-25T11:20:26.931" v="292" actId="700"/>
          <ac:spMkLst>
            <pc:docMk/>
            <pc:sldMk cId="1316154672" sldId="306"/>
            <ac:spMk id="3" creationId="{A407189C-1B6A-F661-1C83-47B4C105D20E}"/>
          </ac:spMkLst>
        </pc:spChg>
        <pc:spChg chg="mod ord">
          <ac:chgData name="Jithin Thomas" userId="ef6c92be-06f2-4075-bbcf-ed38216b51ac" providerId="ADAL" clId="{237E70BE-1C02-595C-AAD9-EF56B36E7E71}" dt="2025-11-25T11:20:26.931" v="292" actId="700"/>
          <ac:spMkLst>
            <pc:docMk/>
            <pc:sldMk cId="1316154672" sldId="306"/>
            <ac:spMk id="4" creationId="{D6AA948E-609D-29CA-FAB5-29A8A8E74852}"/>
          </ac:spMkLst>
        </pc:spChg>
        <pc:spChg chg="mod ord">
          <ac:chgData name="Jithin Thomas" userId="ef6c92be-06f2-4075-bbcf-ed38216b51ac" providerId="ADAL" clId="{237E70BE-1C02-595C-AAD9-EF56B36E7E71}" dt="2025-11-25T11:20:31.566" v="294" actId="404"/>
          <ac:spMkLst>
            <pc:docMk/>
            <pc:sldMk cId="1316154672" sldId="306"/>
            <ac:spMk id="12" creationId="{34FD586D-48DB-B811-3BEB-E6CEEF9854E8}"/>
          </ac:spMkLst>
        </pc:spChg>
        <pc:picChg chg="mod">
          <ac:chgData name="Jithin Thomas" userId="ef6c92be-06f2-4075-bbcf-ed38216b51ac" providerId="ADAL" clId="{237E70BE-1C02-595C-AAD9-EF56B36E7E71}" dt="2025-11-25T11:20:36.813" v="296" actId="1076"/>
          <ac:picMkLst>
            <pc:docMk/>
            <pc:sldMk cId="1316154672" sldId="306"/>
            <ac:picMk id="2" creationId="{04992BE0-E6B7-46B7-08AA-E1C153682088}"/>
          </ac:picMkLst>
        </pc:picChg>
      </pc:sldChg>
      <pc:sldChg chg="addSp delSp modSp mod chgLayout">
        <pc:chgData name="Jithin Thomas" userId="ef6c92be-06f2-4075-bbcf-ed38216b51ac" providerId="ADAL" clId="{237E70BE-1C02-595C-AAD9-EF56B36E7E71}" dt="2025-11-25T11:20:02.067" v="288" actId="1076"/>
        <pc:sldMkLst>
          <pc:docMk/>
          <pc:sldMk cId="3328788586" sldId="307"/>
        </pc:sldMkLst>
        <pc:spChg chg="mod ord">
          <ac:chgData name="Jithin Thomas" userId="ef6c92be-06f2-4075-bbcf-ed38216b51ac" providerId="ADAL" clId="{237E70BE-1C02-595C-AAD9-EF56B36E7E71}" dt="2025-11-25T11:19:53.229" v="284" actId="700"/>
          <ac:spMkLst>
            <pc:docMk/>
            <pc:sldMk cId="3328788586" sldId="307"/>
            <ac:spMk id="4" creationId="{B2E3637B-3BC0-C9F2-D3A1-5F3EAE38D61F}"/>
          </ac:spMkLst>
        </pc:spChg>
        <pc:spChg chg="mod ord">
          <ac:chgData name="Jithin Thomas" userId="ef6c92be-06f2-4075-bbcf-ed38216b51ac" providerId="ADAL" clId="{237E70BE-1C02-595C-AAD9-EF56B36E7E71}" dt="2025-11-25T11:19:56.053" v="285" actId="14100"/>
          <ac:spMkLst>
            <pc:docMk/>
            <pc:sldMk cId="3328788586" sldId="307"/>
            <ac:spMk id="12" creationId="{D5AC7C36-5B6C-08BA-D015-83137E4401F3}"/>
          </ac:spMkLst>
        </pc:spChg>
        <pc:picChg chg="mod">
          <ac:chgData name="Jithin Thomas" userId="ef6c92be-06f2-4075-bbcf-ed38216b51ac" providerId="ADAL" clId="{237E70BE-1C02-595C-AAD9-EF56B36E7E71}" dt="2025-11-25T11:20:02.067" v="288" actId="1076"/>
          <ac:picMkLst>
            <pc:docMk/>
            <pc:sldMk cId="3328788586" sldId="307"/>
            <ac:picMk id="2" creationId="{2154206A-9A61-878A-232D-53DF9D68948A}"/>
          </ac:picMkLst>
        </pc:picChg>
      </pc:sldChg>
      <pc:sldChg chg="addSp delSp modSp mod chgLayout">
        <pc:chgData name="Jithin Thomas" userId="ef6c92be-06f2-4075-bbcf-ed38216b51ac" providerId="ADAL" clId="{237E70BE-1C02-595C-AAD9-EF56B36E7E71}" dt="2025-11-25T11:20:14.383" v="291" actId="14100"/>
        <pc:sldMkLst>
          <pc:docMk/>
          <pc:sldMk cId="2391591373" sldId="308"/>
        </pc:sldMkLst>
        <pc:spChg chg="mod ord">
          <ac:chgData name="Jithin Thomas" userId="ef6c92be-06f2-4075-bbcf-ed38216b51ac" providerId="ADAL" clId="{237E70BE-1C02-595C-AAD9-EF56B36E7E71}" dt="2025-11-25T11:20:08.788" v="289" actId="700"/>
          <ac:spMkLst>
            <pc:docMk/>
            <pc:sldMk cId="2391591373" sldId="308"/>
            <ac:spMk id="4" creationId="{51A1226F-CCCC-67D3-0618-373C063C14F0}"/>
          </ac:spMkLst>
        </pc:spChg>
        <pc:spChg chg="mod ord">
          <ac:chgData name="Jithin Thomas" userId="ef6c92be-06f2-4075-bbcf-ed38216b51ac" providerId="ADAL" clId="{237E70BE-1C02-595C-AAD9-EF56B36E7E71}" dt="2025-11-25T11:20:14.383" v="291" actId="14100"/>
          <ac:spMkLst>
            <pc:docMk/>
            <pc:sldMk cId="2391591373" sldId="308"/>
            <ac:spMk id="12" creationId="{9726C7C3-B2FE-9379-122C-A8FB1FE7BFDA}"/>
          </ac:spMkLst>
        </pc:spChg>
      </pc:sldChg>
      <pc:sldChg chg="modSp mod">
        <pc:chgData name="Jithin Thomas" userId="ef6c92be-06f2-4075-bbcf-ed38216b51ac" providerId="ADAL" clId="{237E70BE-1C02-595C-AAD9-EF56B36E7E71}" dt="2025-11-25T10:38:39.602" v="230" actId="20577"/>
        <pc:sldMkLst>
          <pc:docMk/>
          <pc:sldMk cId="3971041320" sldId="309"/>
        </pc:sldMkLst>
        <pc:spChg chg="mod">
          <ac:chgData name="Jithin Thomas" userId="ef6c92be-06f2-4075-bbcf-ed38216b51ac" providerId="ADAL" clId="{237E70BE-1C02-595C-AAD9-EF56B36E7E71}" dt="2025-11-25T10:38:39.602" v="230" actId="20577"/>
          <ac:spMkLst>
            <pc:docMk/>
            <pc:sldMk cId="3971041320" sldId="309"/>
            <ac:spMk id="12" creationId="{6A9BBA4B-455A-7B2E-C492-E865A3F634BE}"/>
          </ac:spMkLst>
        </pc:spChg>
      </pc:sldChg>
      <pc:sldChg chg="addSp delSp modSp mod chgLayout">
        <pc:chgData name="Jithin Thomas" userId="ef6c92be-06f2-4075-bbcf-ed38216b51ac" providerId="ADAL" clId="{237E70BE-1C02-595C-AAD9-EF56B36E7E71}" dt="2025-11-25T12:01:46.493" v="319" actId="14100"/>
        <pc:sldMkLst>
          <pc:docMk/>
          <pc:sldMk cId="1941463196" sldId="310"/>
        </pc:sldMkLst>
        <pc:spChg chg="mod ord">
          <ac:chgData name="Jithin Thomas" userId="ef6c92be-06f2-4075-bbcf-ed38216b51ac" providerId="ADAL" clId="{237E70BE-1C02-595C-AAD9-EF56B36E7E71}" dt="2025-11-25T12:01:39.612" v="316" actId="700"/>
          <ac:spMkLst>
            <pc:docMk/>
            <pc:sldMk cId="1941463196" sldId="310"/>
            <ac:spMk id="4" creationId="{2C559A86-2ACC-7F40-A6F3-AEDBEDB82E23}"/>
          </ac:spMkLst>
        </pc:spChg>
        <pc:spChg chg="mod ord">
          <ac:chgData name="Jithin Thomas" userId="ef6c92be-06f2-4075-bbcf-ed38216b51ac" providerId="ADAL" clId="{237E70BE-1C02-595C-AAD9-EF56B36E7E71}" dt="2025-11-25T12:01:42.129" v="317" actId="14100"/>
          <ac:spMkLst>
            <pc:docMk/>
            <pc:sldMk cId="1941463196" sldId="310"/>
            <ac:spMk id="12" creationId="{537D05C6-0359-31E3-E401-E598488EEC05}"/>
          </ac:spMkLst>
        </pc:spChg>
        <pc:picChg chg="mod">
          <ac:chgData name="Jithin Thomas" userId="ef6c92be-06f2-4075-bbcf-ed38216b51ac" providerId="ADAL" clId="{237E70BE-1C02-595C-AAD9-EF56B36E7E71}" dt="2025-11-25T12:01:46.493" v="319" actId="14100"/>
          <ac:picMkLst>
            <pc:docMk/>
            <pc:sldMk cId="1941463196" sldId="310"/>
            <ac:picMk id="2" creationId="{903D3384-FA63-6A88-C5F4-CA1012173C27}"/>
          </ac:picMkLst>
        </pc:picChg>
      </pc:sldChg>
      <pc:sldChg chg="modSp mod chgLayout">
        <pc:chgData name="Jithin Thomas" userId="ef6c92be-06f2-4075-bbcf-ed38216b51ac" providerId="ADAL" clId="{237E70BE-1C02-595C-AAD9-EF56B36E7E71}" dt="2025-11-25T12:04:39.077" v="350"/>
        <pc:sldMkLst>
          <pc:docMk/>
          <pc:sldMk cId="262958701" sldId="311"/>
        </pc:sldMkLst>
        <pc:spChg chg="mod ord">
          <ac:chgData name="Jithin Thomas" userId="ef6c92be-06f2-4075-bbcf-ed38216b51ac" providerId="ADAL" clId="{237E70BE-1C02-595C-AAD9-EF56B36E7E71}" dt="2025-11-25T12:03:56.127" v="343" actId="700"/>
          <ac:spMkLst>
            <pc:docMk/>
            <pc:sldMk cId="262958701" sldId="311"/>
            <ac:spMk id="4" creationId="{33AA6362-7978-1A93-7A6A-30C8EFB3B9A7}"/>
          </ac:spMkLst>
        </pc:spChg>
        <pc:spChg chg="mod">
          <ac:chgData name="Jithin Thomas" userId="ef6c92be-06f2-4075-bbcf-ed38216b51ac" providerId="ADAL" clId="{237E70BE-1C02-595C-AAD9-EF56B36E7E71}" dt="2025-11-25T12:04:10.398" v="349" actId="1076"/>
          <ac:spMkLst>
            <pc:docMk/>
            <pc:sldMk cId="262958701" sldId="311"/>
            <ac:spMk id="6" creationId="{D1ADF55D-9EAF-45BA-ABB3-C6F10DA10F04}"/>
          </ac:spMkLst>
        </pc:spChg>
        <pc:spChg chg="mod ord">
          <ac:chgData name="Jithin Thomas" userId="ef6c92be-06f2-4075-bbcf-ed38216b51ac" providerId="ADAL" clId="{237E70BE-1C02-595C-AAD9-EF56B36E7E71}" dt="2025-11-25T12:03:56.127" v="343" actId="700"/>
          <ac:spMkLst>
            <pc:docMk/>
            <pc:sldMk cId="262958701" sldId="311"/>
            <ac:spMk id="9" creationId="{E25F23BC-7C0F-38CF-3CAF-A5A90E9AD80D}"/>
          </ac:spMkLst>
        </pc:spChg>
        <pc:spChg chg="mod ord">
          <ac:chgData name="Jithin Thomas" userId="ef6c92be-06f2-4075-bbcf-ed38216b51ac" providerId="ADAL" clId="{237E70BE-1C02-595C-AAD9-EF56B36E7E71}" dt="2025-11-25T12:04:39.077" v="350"/>
          <ac:spMkLst>
            <pc:docMk/>
            <pc:sldMk cId="262958701" sldId="311"/>
            <ac:spMk id="12" creationId="{6452DA54-0D49-A8E4-9CCC-D6CDC0B092B4}"/>
          </ac:spMkLst>
        </pc:spChg>
        <pc:picChg chg="mod">
          <ac:chgData name="Jithin Thomas" userId="ef6c92be-06f2-4075-bbcf-ed38216b51ac" providerId="ADAL" clId="{237E70BE-1C02-595C-AAD9-EF56B36E7E71}" dt="2025-11-25T12:04:10.398" v="349" actId="1076"/>
          <ac:picMkLst>
            <pc:docMk/>
            <pc:sldMk cId="262958701" sldId="311"/>
            <ac:picMk id="5" creationId="{1EE76E41-9C82-3460-CA97-8514D243BE7D}"/>
          </ac:picMkLst>
        </pc:picChg>
      </pc:sldChg>
      <pc:sldChg chg="modSp mod chgLayout">
        <pc:chgData name="Jithin Thomas" userId="ef6c92be-06f2-4075-bbcf-ed38216b51ac" providerId="ADAL" clId="{237E70BE-1C02-595C-AAD9-EF56B36E7E71}" dt="2025-11-25T10:39:47.122" v="236" actId="14100"/>
        <pc:sldMkLst>
          <pc:docMk/>
          <pc:sldMk cId="3449195068" sldId="312"/>
        </pc:sldMkLst>
        <pc:spChg chg="mod ord">
          <ac:chgData name="Jithin Thomas" userId="ef6c92be-06f2-4075-bbcf-ed38216b51ac" providerId="ADAL" clId="{237E70BE-1C02-595C-AAD9-EF56B36E7E71}" dt="2025-11-25T10:39:44.132" v="235" actId="700"/>
          <ac:spMkLst>
            <pc:docMk/>
            <pc:sldMk cId="3449195068" sldId="312"/>
            <ac:spMk id="4" creationId="{34B8A10C-4045-2A84-222D-7D57BF5DFE65}"/>
          </ac:spMkLst>
        </pc:spChg>
        <pc:spChg chg="mod ord">
          <ac:chgData name="Jithin Thomas" userId="ef6c92be-06f2-4075-bbcf-ed38216b51ac" providerId="ADAL" clId="{237E70BE-1C02-595C-AAD9-EF56B36E7E71}" dt="2025-11-25T10:39:44.132" v="235" actId="700"/>
          <ac:spMkLst>
            <pc:docMk/>
            <pc:sldMk cId="3449195068" sldId="312"/>
            <ac:spMk id="9" creationId="{30A738D5-8F0A-B1DD-46E5-39DC26475887}"/>
          </ac:spMkLst>
        </pc:spChg>
        <pc:spChg chg="mod ord">
          <ac:chgData name="Jithin Thomas" userId="ef6c92be-06f2-4075-bbcf-ed38216b51ac" providerId="ADAL" clId="{237E70BE-1C02-595C-AAD9-EF56B36E7E71}" dt="2025-11-25T10:39:47.122" v="236" actId="14100"/>
          <ac:spMkLst>
            <pc:docMk/>
            <pc:sldMk cId="3449195068" sldId="312"/>
            <ac:spMk id="12" creationId="{1A014AB4-8BC6-16DA-5178-7CF9FD564632}"/>
          </ac:spMkLst>
        </pc:spChg>
      </pc:sldChg>
      <pc:sldChg chg="addSp modSp mod chgLayout modNotesTx">
        <pc:chgData name="Jithin Thomas" userId="ef6c92be-06f2-4075-bbcf-ed38216b51ac" providerId="ADAL" clId="{237E70BE-1C02-595C-AAD9-EF56B36E7E71}" dt="2025-11-25T10:40:37.512" v="242" actId="14100"/>
        <pc:sldMkLst>
          <pc:docMk/>
          <pc:sldMk cId="2342619048" sldId="313"/>
        </pc:sldMkLst>
        <pc:spChg chg="mod ord">
          <ac:chgData name="Jithin Thomas" userId="ef6c92be-06f2-4075-bbcf-ed38216b51ac" providerId="ADAL" clId="{237E70BE-1C02-595C-AAD9-EF56B36E7E71}" dt="2025-11-25T10:40:05.540" v="237" actId="700"/>
          <ac:spMkLst>
            <pc:docMk/>
            <pc:sldMk cId="2342619048" sldId="313"/>
            <ac:spMk id="4" creationId="{C1F3EF54-184D-C78C-0257-453888AB0823}"/>
          </ac:spMkLst>
        </pc:spChg>
        <pc:spChg chg="mod ord">
          <ac:chgData name="Jithin Thomas" userId="ef6c92be-06f2-4075-bbcf-ed38216b51ac" providerId="ADAL" clId="{237E70BE-1C02-595C-AAD9-EF56B36E7E71}" dt="2025-11-25T10:40:05.540" v="237" actId="700"/>
          <ac:spMkLst>
            <pc:docMk/>
            <pc:sldMk cId="2342619048" sldId="313"/>
            <ac:spMk id="9" creationId="{D12A2AC5-BD6D-64BC-739C-9CD26D122D61}"/>
          </ac:spMkLst>
        </pc:spChg>
        <pc:spChg chg="mod ord">
          <ac:chgData name="Jithin Thomas" userId="ef6c92be-06f2-4075-bbcf-ed38216b51ac" providerId="ADAL" clId="{237E70BE-1C02-595C-AAD9-EF56B36E7E71}" dt="2025-11-25T10:40:12.078" v="239"/>
          <ac:spMkLst>
            <pc:docMk/>
            <pc:sldMk cId="2342619048" sldId="313"/>
            <ac:spMk id="12" creationId="{C1F6CF26-B239-396F-5191-6E98E9E5830C}"/>
          </ac:spMkLst>
        </pc:spChg>
        <pc:grpChg chg="add mod">
          <ac:chgData name="Jithin Thomas" userId="ef6c92be-06f2-4075-bbcf-ed38216b51ac" providerId="ADAL" clId="{237E70BE-1C02-595C-AAD9-EF56B36E7E71}" dt="2025-11-25T10:40:37.512" v="242" actId="14100"/>
          <ac:grpSpMkLst>
            <pc:docMk/>
            <pc:sldMk cId="2342619048" sldId="313"/>
            <ac:grpSpMk id="5" creationId="{514078F2-B588-0FA6-09BD-8B4976F23E2D}"/>
          </ac:grpSpMkLst>
        </pc:grpChg>
        <pc:picChg chg="mod">
          <ac:chgData name="Jithin Thomas" userId="ef6c92be-06f2-4075-bbcf-ed38216b51ac" providerId="ADAL" clId="{237E70BE-1C02-595C-AAD9-EF56B36E7E71}" dt="2025-11-25T10:40:34.754" v="241" actId="164"/>
          <ac:picMkLst>
            <pc:docMk/>
            <pc:sldMk cId="2342619048" sldId="313"/>
            <ac:picMk id="2" creationId="{69040805-4D12-66DE-93ED-57A1B20DA8CB}"/>
          </ac:picMkLst>
        </pc:picChg>
        <pc:picChg chg="mod">
          <ac:chgData name="Jithin Thomas" userId="ef6c92be-06f2-4075-bbcf-ed38216b51ac" providerId="ADAL" clId="{237E70BE-1C02-595C-AAD9-EF56B36E7E71}" dt="2025-11-25T10:40:34.754" v="241" actId="164"/>
          <ac:picMkLst>
            <pc:docMk/>
            <pc:sldMk cId="2342619048" sldId="313"/>
            <ac:picMk id="3" creationId="{8AD79EAF-541D-6E87-B4FC-83D9B78D6F16}"/>
          </ac:picMkLst>
        </pc:picChg>
      </pc:sldChg>
      <pc:sldChg chg="modSp mod chgLayout">
        <pc:chgData name="Jithin Thomas" userId="ef6c92be-06f2-4075-bbcf-ed38216b51ac" providerId="ADAL" clId="{237E70BE-1C02-595C-AAD9-EF56B36E7E71}" dt="2025-11-25T10:40:50.533" v="244" actId="14100"/>
        <pc:sldMkLst>
          <pc:docMk/>
          <pc:sldMk cId="2889707747" sldId="314"/>
        </pc:sldMkLst>
        <pc:spChg chg="mod ord">
          <ac:chgData name="Jithin Thomas" userId="ef6c92be-06f2-4075-bbcf-ed38216b51ac" providerId="ADAL" clId="{237E70BE-1C02-595C-AAD9-EF56B36E7E71}" dt="2025-11-25T10:40:47.778" v="243" actId="700"/>
          <ac:spMkLst>
            <pc:docMk/>
            <pc:sldMk cId="2889707747" sldId="314"/>
            <ac:spMk id="4" creationId="{B25CD077-90EC-2D52-AC0B-AB9ADC19F4B1}"/>
          </ac:spMkLst>
        </pc:spChg>
        <pc:spChg chg="mod ord">
          <ac:chgData name="Jithin Thomas" userId="ef6c92be-06f2-4075-bbcf-ed38216b51ac" providerId="ADAL" clId="{237E70BE-1C02-595C-AAD9-EF56B36E7E71}" dt="2025-11-25T10:40:47.778" v="243" actId="700"/>
          <ac:spMkLst>
            <pc:docMk/>
            <pc:sldMk cId="2889707747" sldId="314"/>
            <ac:spMk id="9" creationId="{94382974-1F1E-C1B1-34D2-BBC361289B20}"/>
          </ac:spMkLst>
        </pc:spChg>
        <pc:spChg chg="mod ord">
          <ac:chgData name="Jithin Thomas" userId="ef6c92be-06f2-4075-bbcf-ed38216b51ac" providerId="ADAL" clId="{237E70BE-1C02-595C-AAD9-EF56B36E7E71}" dt="2025-11-25T10:40:50.533" v="244" actId="14100"/>
          <ac:spMkLst>
            <pc:docMk/>
            <pc:sldMk cId="2889707747" sldId="314"/>
            <ac:spMk id="12" creationId="{0002C37A-184F-3F77-BDEF-27E5F6E21353}"/>
          </ac:spMkLst>
        </pc:spChg>
      </pc:sldChg>
      <pc:sldChg chg="modSp mod chgLayout">
        <pc:chgData name="Jithin Thomas" userId="ef6c92be-06f2-4075-bbcf-ed38216b51ac" providerId="ADAL" clId="{237E70BE-1C02-595C-AAD9-EF56B36E7E71}" dt="2025-11-25T11:21:29.467" v="303" actId="14100"/>
        <pc:sldMkLst>
          <pc:docMk/>
          <pc:sldMk cId="2538727752" sldId="315"/>
        </pc:sldMkLst>
        <pc:spChg chg="mod ord">
          <ac:chgData name="Jithin Thomas" userId="ef6c92be-06f2-4075-bbcf-ed38216b51ac" providerId="ADAL" clId="{237E70BE-1C02-595C-AAD9-EF56B36E7E71}" dt="2025-11-25T11:21:26.305" v="302" actId="700"/>
          <ac:spMkLst>
            <pc:docMk/>
            <pc:sldMk cId="2538727752" sldId="315"/>
            <ac:spMk id="4" creationId="{EFC0F801-2009-9516-EEB8-C970BC582779}"/>
          </ac:spMkLst>
        </pc:spChg>
        <pc:spChg chg="mod ord">
          <ac:chgData name="Jithin Thomas" userId="ef6c92be-06f2-4075-bbcf-ed38216b51ac" providerId="ADAL" clId="{237E70BE-1C02-595C-AAD9-EF56B36E7E71}" dt="2025-11-25T11:21:26.305" v="302" actId="700"/>
          <ac:spMkLst>
            <pc:docMk/>
            <pc:sldMk cId="2538727752" sldId="315"/>
            <ac:spMk id="9" creationId="{0BC21655-C732-8D78-A412-D05917CCF707}"/>
          </ac:spMkLst>
        </pc:spChg>
        <pc:spChg chg="mod ord">
          <ac:chgData name="Jithin Thomas" userId="ef6c92be-06f2-4075-bbcf-ed38216b51ac" providerId="ADAL" clId="{237E70BE-1C02-595C-AAD9-EF56B36E7E71}" dt="2025-11-25T11:21:29.467" v="303" actId="14100"/>
          <ac:spMkLst>
            <pc:docMk/>
            <pc:sldMk cId="2538727752" sldId="315"/>
            <ac:spMk id="12" creationId="{BD7C3B98-EE7B-D0F9-BB08-D71F60CCE5E9}"/>
          </ac:spMkLst>
        </pc:spChg>
      </pc:sldChg>
      <pc:sldChg chg="modSp mod chgLayout">
        <pc:chgData name="Jithin Thomas" userId="ef6c92be-06f2-4075-bbcf-ed38216b51ac" providerId="ADAL" clId="{237E70BE-1C02-595C-AAD9-EF56B36E7E71}" dt="2025-11-25T12:06:54.721" v="380" actId="14100"/>
        <pc:sldMkLst>
          <pc:docMk/>
          <pc:sldMk cId="41814602" sldId="316"/>
        </pc:sldMkLst>
        <pc:spChg chg="mod ord">
          <ac:chgData name="Jithin Thomas" userId="ef6c92be-06f2-4075-bbcf-ed38216b51ac" providerId="ADAL" clId="{237E70BE-1C02-595C-AAD9-EF56B36E7E71}" dt="2025-11-25T12:06:41.070" v="375" actId="700"/>
          <ac:spMkLst>
            <pc:docMk/>
            <pc:sldMk cId="41814602" sldId="316"/>
            <ac:spMk id="4" creationId="{7DEDD500-169E-DE5A-C481-0E0560F4F678}"/>
          </ac:spMkLst>
        </pc:spChg>
        <pc:spChg chg="mod ord">
          <ac:chgData name="Jithin Thomas" userId="ef6c92be-06f2-4075-bbcf-ed38216b51ac" providerId="ADAL" clId="{237E70BE-1C02-595C-AAD9-EF56B36E7E71}" dt="2025-11-25T12:06:41.070" v="375" actId="700"/>
          <ac:spMkLst>
            <pc:docMk/>
            <pc:sldMk cId="41814602" sldId="316"/>
            <ac:spMk id="9" creationId="{B9058874-933B-879D-29C2-860B0D1033CE}"/>
          </ac:spMkLst>
        </pc:spChg>
        <pc:spChg chg="mod ord">
          <ac:chgData name="Jithin Thomas" userId="ef6c92be-06f2-4075-bbcf-ed38216b51ac" providerId="ADAL" clId="{237E70BE-1C02-595C-AAD9-EF56B36E7E71}" dt="2025-11-25T12:06:54.721" v="380" actId="14100"/>
          <ac:spMkLst>
            <pc:docMk/>
            <pc:sldMk cId="41814602" sldId="316"/>
            <ac:spMk id="12" creationId="{B428EE08-C938-43E3-EE2C-E0EAAA5F5B9F}"/>
          </ac:spMkLst>
        </pc:spChg>
        <pc:picChg chg="mod">
          <ac:chgData name="Jithin Thomas" userId="ef6c92be-06f2-4075-bbcf-ed38216b51ac" providerId="ADAL" clId="{237E70BE-1C02-595C-AAD9-EF56B36E7E71}" dt="2025-11-25T12:06:52.588" v="379" actId="1076"/>
          <ac:picMkLst>
            <pc:docMk/>
            <pc:sldMk cId="41814602" sldId="316"/>
            <ac:picMk id="2" creationId="{5010728B-04BF-094B-AF30-F8A14513DC4C}"/>
          </ac:picMkLst>
        </pc:picChg>
      </pc:sldChg>
      <pc:sldChg chg="modSp mod">
        <pc:chgData name="Jithin Thomas" userId="ef6c92be-06f2-4075-bbcf-ed38216b51ac" providerId="ADAL" clId="{237E70BE-1C02-595C-AAD9-EF56B36E7E71}" dt="2025-11-25T12:02:03.122" v="320" actId="14100"/>
        <pc:sldMkLst>
          <pc:docMk/>
          <pc:sldMk cId="1816311408" sldId="317"/>
        </pc:sldMkLst>
        <pc:picChg chg="mod">
          <ac:chgData name="Jithin Thomas" userId="ef6c92be-06f2-4075-bbcf-ed38216b51ac" providerId="ADAL" clId="{237E70BE-1C02-595C-AAD9-EF56B36E7E71}" dt="2025-11-25T12:02:03.122" v="320" actId="14100"/>
          <ac:picMkLst>
            <pc:docMk/>
            <pc:sldMk cId="1816311408" sldId="317"/>
            <ac:picMk id="2" creationId="{FFD4619A-0659-9122-B5EB-4DD58C39BD49}"/>
          </ac:picMkLst>
        </pc:picChg>
      </pc:sldChg>
      <pc:sldChg chg="modSp mod chgLayout">
        <pc:chgData name="Jithin Thomas" userId="ef6c92be-06f2-4075-bbcf-ed38216b51ac" providerId="ADAL" clId="{237E70BE-1C02-595C-AAD9-EF56B36E7E71}" dt="2025-11-25T12:06:36.502" v="374" actId="1076"/>
        <pc:sldMkLst>
          <pc:docMk/>
          <pc:sldMk cId="1077920806" sldId="319"/>
        </pc:sldMkLst>
        <pc:spChg chg="mod ord">
          <ac:chgData name="Jithin Thomas" userId="ef6c92be-06f2-4075-bbcf-ed38216b51ac" providerId="ADAL" clId="{237E70BE-1C02-595C-AAD9-EF56B36E7E71}" dt="2025-11-25T12:06:06.470" v="364" actId="700"/>
          <ac:spMkLst>
            <pc:docMk/>
            <pc:sldMk cId="1077920806" sldId="319"/>
            <ac:spMk id="4" creationId="{F2B6F797-0D17-E95B-D804-5C29E76A91A4}"/>
          </ac:spMkLst>
        </pc:spChg>
        <pc:spChg chg="mod ord">
          <ac:chgData name="Jithin Thomas" userId="ef6c92be-06f2-4075-bbcf-ed38216b51ac" providerId="ADAL" clId="{237E70BE-1C02-595C-AAD9-EF56B36E7E71}" dt="2025-11-25T12:06:06.470" v="364" actId="700"/>
          <ac:spMkLst>
            <pc:docMk/>
            <pc:sldMk cId="1077920806" sldId="319"/>
            <ac:spMk id="9" creationId="{5800B518-AEBB-D091-C75D-08B1D9C22F4D}"/>
          </ac:spMkLst>
        </pc:spChg>
        <pc:spChg chg="mod ord">
          <ac:chgData name="Jithin Thomas" userId="ef6c92be-06f2-4075-bbcf-ed38216b51ac" providerId="ADAL" clId="{237E70BE-1C02-595C-AAD9-EF56B36E7E71}" dt="2025-11-25T12:06:26.813" v="372" actId="20577"/>
          <ac:spMkLst>
            <pc:docMk/>
            <pc:sldMk cId="1077920806" sldId="319"/>
            <ac:spMk id="12" creationId="{AB7962C2-950D-51BB-5172-09506DA32EE2}"/>
          </ac:spMkLst>
        </pc:spChg>
        <pc:picChg chg="mod">
          <ac:chgData name="Jithin Thomas" userId="ef6c92be-06f2-4075-bbcf-ed38216b51ac" providerId="ADAL" clId="{237E70BE-1C02-595C-AAD9-EF56B36E7E71}" dt="2025-11-25T12:06:36.502" v="374" actId="1076"/>
          <ac:picMkLst>
            <pc:docMk/>
            <pc:sldMk cId="1077920806" sldId="319"/>
            <ac:picMk id="2" creationId="{9A0223C2-A048-217C-018E-A32ABAB89D21}"/>
          </ac:picMkLst>
        </pc:picChg>
      </pc:sldChg>
      <pc:sldChg chg="modSp mod chgLayout">
        <pc:chgData name="Jithin Thomas" userId="ef6c92be-06f2-4075-bbcf-ed38216b51ac" providerId="ADAL" clId="{237E70BE-1C02-595C-AAD9-EF56B36E7E71}" dt="2025-11-25T10:41:11.655" v="250" actId="20577"/>
        <pc:sldMkLst>
          <pc:docMk/>
          <pc:sldMk cId="1403548728" sldId="320"/>
        </pc:sldMkLst>
        <pc:spChg chg="mod ord">
          <ac:chgData name="Jithin Thomas" userId="ef6c92be-06f2-4075-bbcf-ed38216b51ac" providerId="ADAL" clId="{237E70BE-1C02-595C-AAD9-EF56B36E7E71}" dt="2025-11-25T10:40:57.081" v="245" actId="700"/>
          <ac:spMkLst>
            <pc:docMk/>
            <pc:sldMk cId="1403548728" sldId="320"/>
            <ac:spMk id="4" creationId="{628E57AA-408F-BB2E-88A9-6CDBA2AC938F}"/>
          </ac:spMkLst>
        </pc:spChg>
        <pc:spChg chg="mod ord">
          <ac:chgData name="Jithin Thomas" userId="ef6c92be-06f2-4075-bbcf-ed38216b51ac" providerId="ADAL" clId="{237E70BE-1C02-595C-AAD9-EF56B36E7E71}" dt="2025-11-25T10:41:11.655" v="250" actId="20577"/>
          <ac:spMkLst>
            <pc:docMk/>
            <pc:sldMk cId="1403548728" sldId="320"/>
            <ac:spMk id="9" creationId="{5629EDAB-8443-86CF-DF65-6F0ED10E2616}"/>
          </ac:spMkLst>
        </pc:spChg>
        <pc:spChg chg="mod ord">
          <ac:chgData name="Jithin Thomas" userId="ef6c92be-06f2-4075-bbcf-ed38216b51ac" providerId="ADAL" clId="{237E70BE-1C02-595C-AAD9-EF56B36E7E71}" dt="2025-11-25T10:41:04.439" v="247"/>
          <ac:spMkLst>
            <pc:docMk/>
            <pc:sldMk cId="1403548728" sldId="320"/>
            <ac:spMk id="12" creationId="{8920BA7F-5F47-1097-2DFF-50D85C89C871}"/>
          </ac:spMkLst>
        </pc:spChg>
      </pc:sldChg>
      <pc:sldChg chg="modSp mod chgLayout">
        <pc:chgData name="Jithin Thomas" userId="ef6c92be-06f2-4075-bbcf-ed38216b51ac" providerId="ADAL" clId="{237E70BE-1C02-595C-AAD9-EF56B36E7E71}" dt="2025-11-25T11:16:15.477" v="255" actId="700"/>
        <pc:sldMkLst>
          <pc:docMk/>
          <pc:sldMk cId="3670380688" sldId="321"/>
        </pc:sldMkLst>
        <pc:spChg chg="mod ord">
          <ac:chgData name="Jithin Thomas" userId="ef6c92be-06f2-4075-bbcf-ed38216b51ac" providerId="ADAL" clId="{237E70BE-1C02-595C-AAD9-EF56B36E7E71}" dt="2025-11-25T11:16:15.477" v="255" actId="700"/>
          <ac:spMkLst>
            <pc:docMk/>
            <pc:sldMk cId="3670380688" sldId="321"/>
            <ac:spMk id="4" creationId="{86C97AF5-396B-8B15-E176-57E4077627CD}"/>
          </ac:spMkLst>
        </pc:spChg>
        <pc:spChg chg="mod ord">
          <ac:chgData name="Jithin Thomas" userId="ef6c92be-06f2-4075-bbcf-ed38216b51ac" providerId="ADAL" clId="{237E70BE-1C02-595C-AAD9-EF56B36E7E71}" dt="2025-11-25T11:16:15.477" v="255" actId="700"/>
          <ac:spMkLst>
            <pc:docMk/>
            <pc:sldMk cId="3670380688" sldId="321"/>
            <ac:spMk id="9" creationId="{0F3EFE8B-8A55-3B5D-D629-93E337BF8DCD}"/>
          </ac:spMkLst>
        </pc:spChg>
        <pc:spChg chg="mod ord">
          <ac:chgData name="Jithin Thomas" userId="ef6c92be-06f2-4075-bbcf-ed38216b51ac" providerId="ADAL" clId="{237E70BE-1C02-595C-AAD9-EF56B36E7E71}" dt="2025-11-25T11:16:15.477" v="255" actId="700"/>
          <ac:spMkLst>
            <pc:docMk/>
            <pc:sldMk cId="3670380688" sldId="321"/>
            <ac:spMk id="12" creationId="{4EA057FB-5BAE-ECB5-46A5-243D06CFC43D}"/>
          </ac:spMkLst>
        </pc:spChg>
      </pc:sldChg>
      <pc:sldChg chg="modSp mod">
        <pc:chgData name="Jithin Thomas" userId="ef6c92be-06f2-4075-bbcf-ed38216b51ac" providerId="ADAL" clId="{237E70BE-1C02-595C-AAD9-EF56B36E7E71}" dt="2025-11-25T11:17:14.358" v="260" actId="1076"/>
        <pc:sldMkLst>
          <pc:docMk/>
          <pc:sldMk cId="3977386622" sldId="322"/>
        </pc:sldMkLst>
        <pc:spChg chg="mod">
          <ac:chgData name="Jithin Thomas" userId="ef6c92be-06f2-4075-bbcf-ed38216b51ac" providerId="ADAL" clId="{237E70BE-1C02-595C-AAD9-EF56B36E7E71}" dt="2025-11-25T11:17:10.632" v="259" actId="14100"/>
          <ac:spMkLst>
            <pc:docMk/>
            <pc:sldMk cId="3977386622" sldId="322"/>
            <ac:spMk id="12" creationId="{0E855E56-A090-AFF8-3F94-E0C4F11A38B7}"/>
          </ac:spMkLst>
        </pc:spChg>
        <pc:picChg chg="mod">
          <ac:chgData name="Jithin Thomas" userId="ef6c92be-06f2-4075-bbcf-ed38216b51ac" providerId="ADAL" clId="{237E70BE-1C02-595C-AAD9-EF56B36E7E71}" dt="2025-11-25T11:17:14.358" v="260" actId="1076"/>
          <ac:picMkLst>
            <pc:docMk/>
            <pc:sldMk cId="3977386622" sldId="322"/>
            <ac:picMk id="2" creationId="{E7E62C3D-8DC9-22B0-47E1-93E6B437A6CA}"/>
          </ac:picMkLst>
        </pc:picChg>
      </pc:sldChg>
      <pc:sldChg chg="modSp mod">
        <pc:chgData name="Jithin Thomas" userId="ef6c92be-06f2-4075-bbcf-ed38216b51ac" providerId="ADAL" clId="{237E70BE-1C02-595C-AAD9-EF56B36E7E71}" dt="2025-11-25T11:17:31.310" v="261" actId="1076"/>
        <pc:sldMkLst>
          <pc:docMk/>
          <pc:sldMk cId="3231615942" sldId="323"/>
        </pc:sldMkLst>
        <pc:picChg chg="mod">
          <ac:chgData name="Jithin Thomas" userId="ef6c92be-06f2-4075-bbcf-ed38216b51ac" providerId="ADAL" clId="{237E70BE-1C02-595C-AAD9-EF56B36E7E71}" dt="2025-11-25T11:17:31.310" v="261" actId="1076"/>
          <ac:picMkLst>
            <pc:docMk/>
            <pc:sldMk cId="3231615942" sldId="323"/>
            <ac:picMk id="2" creationId="{1569807E-9834-8407-8E89-29C53FBC69F3}"/>
          </ac:picMkLst>
        </pc:picChg>
      </pc:sldChg>
      <pc:sldChg chg="modSp mod">
        <pc:chgData name="Jithin Thomas" userId="ef6c92be-06f2-4075-bbcf-ed38216b51ac" providerId="ADAL" clId="{237E70BE-1C02-595C-AAD9-EF56B36E7E71}" dt="2025-11-25T11:17:58.997" v="265" actId="1076"/>
        <pc:sldMkLst>
          <pc:docMk/>
          <pc:sldMk cId="1735958492" sldId="324"/>
        </pc:sldMkLst>
        <pc:picChg chg="mod">
          <ac:chgData name="Jithin Thomas" userId="ef6c92be-06f2-4075-bbcf-ed38216b51ac" providerId="ADAL" clId="{237E70BE-1C02-595C-AAD9-EF56B36E7E71}" dt="2025-11-25T11:17:58.997" v="265" actId="1076"/>
          <ac:picMkLst>
            <pc:docMk/>
            <pc:sldMk cId="1735958492" sldId="324"/>
            <ac:picMk id="2" creationId="{B1F523F6-AF0F-F923-AD49-0946B681E195}"/>
          </ac:picMkLst>
        </pc:picChg>
      </pc:sldChg>
      <pc:sldChg chg="modSp mod chgLayout">
        <pc:chgData name="Jithin Thomas" userId="ef6c92be-06f2-4075-bbcf-ed38216b51ac" providerId="ADAL" clId="{237E70BE-1C02-595C-AAD9-EF56B36E7E71}" dt="2025-11-25T12:05:48.900" v="362" actId="20577"/>
        <pc:sldMkLst>
          <pc:docMk/>
          <pc:sldMk cId="3097284674" sldId="327"/>
        </pc:sldMkLst>
        <pc:spChg chg="mod ord">
          <ac:chgData name="Jithin Thomas" userId="ef6c92be-06f2-4075-bbcf-ed38216b51ac" providerId="ADAL" clId="{237E70BE-1C02-595C-AAD9-EF56B36E7E71}" dt="2025-11-25T12:05:18.203" v="356" actId="700"/>
          <ac:spMkLst>
            <pc:docMk/>
            <pc:sldMk cId="3097284674" sldId="327"/>
            <ac:spMk id="4" creationId="{1B7FAB46-33B1-E535-EA37-8D64DD56865F}"/>
          </ac:spMkLst>
        </pc:spChg>
        <pc:spChg chg="mod ord">
          <ac:chgData name="Jithin Thomas" userId="ef6c92be-06f2-4075-bbcf-ed38216b51ac" providerId="ADAL" clId="{237E70BE-1C02-595C-AAD9-EF56B36E7E71}" dt="2025-11-25T12:05:18.203" v="356" actId="700"/>
          <ac:spMkLst>
            <pc:docMk/>
            <pc:sldMk cId="3097284674" sldId="327"/>
            <ac:spMk id="9" creationId="{B1ED6672-B06D-857C-3EB1-A8D2F2945AE8}"/>
          </ac:spMkLst>
        </pc:spChg>
        <pc:spChg chg="mod ord">
          <ac:chgData name="Jithin Thomas" userId="ef6c92be-06f2-4075-bbcf-ed38216b51ac" providerId="ADAL" clId="{237E70BE-1C02-595C-AAD9-EF56B36E7E71}" dt="2025-11-25T12:05:48.900" v="362" actId="20577"/>
          <ac:spMkLst>
            <pc:docMk/>
            <pc:sldMk cId="3097284674" sldId="327"/>
            <ac:spMk id="12" creationId="{DA390791-BCC8-19E8-1135-BD9DA9E757BD}"/>
          </ac:spMkLst>
        </pc:spChg>
      </pc:sldChg>
      <pc:sldChg chg="modSp mod chgLayout">
        <pc:chgData name="Jithin Thomas" userId="ef6c92be-06f2-4075-bbcf-ed38216b51ac" providerId="ADAL" clId="{237E70BE-1C02-595C-AAD9-EF56B36E7E71}" dt="2025-11-25T12:05:53.362" v="363" actId="14100"/>
        <pc:sldMkLst>
          <pc:docMk/>
          <pc:sldMk cId="3921585001" sldId="328"/>
        </pc:sldMkLst>
        <pc:spChg chg="mod ord">
          <ac:chgData name="Jithin Thomas" userId="ef6c92be-06f2-4075-bbcf-ed38216b51ac" providerId="ADAL" clId="{237E70BE-1C02-595C-AAD9-EF56B36E7E71}" dt="2025-11-25T12:05:43.739" v="360" actId="700"/>
          <ac:spMkLst>
            <pc:docMk/>
            <pc:sldMk cId="3921585001" sldId="328"/>
            <ac:spMk id="4" creationId="{D08BB419-8FB9-17F7-EA7A-FC8F1314731D}"/>
          </ac:spMkLst>
        </pc:spChg>
        <pc:spChg chg="mod ord">
          <ac:chgData name="Jithin Thomas" userId="ef6c92be-06f2-4075-bbcf-ed38216b51ac" providerId="ADAL" clId="{237E70BE-1C02-595C-AAD9-EF56B36E7E71}" dt="2025-11-25T12:05:43.739" v="360" actId="700"/>
          <ac:spMkLst>
            <pc:docMk/>
            <pc:sldMk cId="3921585001" sldId="328"/>
            <ac:spMk id="9" creationId="{07DE82BE-0C30-20E4-2F7A-8CBDE6085C22}"/>
          </ac:spMkLst>
        </pc:spChg>
        <pc:spChg chg="mod ord">
          <ac:chgData name="Jithin Thomas" userId="ef6c92be-06f2-4075-bbcf-ed38216b51ac" providerId="ADAL" clId="{237E70BE-1C02-595C-AAD9-EF56B36E7E71}" dt="2025-11-25T12:05:53.362" v="363" actId="14100"/>
          <ac:spMkLst>
            <pc:docMk/>
            <pc:sldMk cId="3921585001" sldId="328"/>
            <ac:spMk id="12" creationId="{54D92353-7B8E-298C-C389-A4507F55BC14}"/>
          </ac:spMkLst>
        </pc:spChg>
      </pc:sldChg>
      <pc:sldChg chg="modSp mod">
        <pc:chgData name="Jithin Thomas" userId="ef6c92be-06f2-4075-bbcf-ed38216b51ac" providerId="ADAL" clId="{237E70BE-1C02-595C-AAD9-EF56B36E7E71}" dt="2025-11-25T10:39:05.651" v="232" actId="14100"/>
        <pc:sldMkLst>
          <pc:docMk/>
          <pc:sldMk cId="2544729286" sldId="330"/>
        </pc:sldMkLst>
        <pc:spChg chg="mod">
          <ac:chgData name="Jithin Thomas" userId="ef6c92be-06f2-4075-bbcf-ed38216b51ac" providerId="ADAL" clId="{237E70BE-1C02-595C-AAD9-EF56B36E7E71}" dt="2025-11-25T10:39:05.651" v="232" actId="14100"/>
          <ac:spMkLst>
            <pc:docMk/>
            <pc:sldMk cId="2544729286" sldId="330"/>
            <ac:spMk id="4" creationId="{3E44205A-4C7E-64E0-C209-4CB332A43D8F}"/>
          </ac:spMkLst>
        </pc:spChg>
        <pc:spChg chg="mod">
          <ac:chgData name="Jithin Thomas" userId="ef6c92be-06f2-4075-bbcf-ed38216b51ac" providerId="ADAL" clId="{237E70BE-1C02-595C-AAD9-EF56B36E7E71}" dt="2025-11-25T10:38:51.384" v="231" actId="1076"/>
          <ac:spMkLst>
            <pc:docMk/>
            <pc:sldMk cId="2544729286" sldId="330"/>
            <ac:spMk id="7" creationId="{447F1FBF-75A9-AD8E-AD70-E41342A84C28}"/>
          </ac:spMkLst>
        </pc:spChg>
        <pc:picChg chg="mod">
          <ac:chgData name="Jithin Thomas" userId="ef6c92be-06f2-4075-bbcf-ed38216b51ac" providerId="ADAL" clId="{237E70BE-1C02-595C-AAD9-EF56B36E7E71}" dt="2025-11-25T10:38:51.384" v="231" actId="1076"/>
          <ac:picMkLst>
            <pc:docMk/>
            <pc:sldMk cId="2544729286" sldId="330"/>
            <ac:picMk id="6" creationId="{173F6ABE-2689-9B10-CEAF-CDB1BEB5A49A}"/>
          </ac:picMkLst>
        </pc:picChg>
      </pc:sldChg>
      <pc:sldChg chg="modSp mod chgLayout">
        <pc:chgData name="Jithin Thomas" userId="ef6c92be-06f2-4075-bbcf-ed38216b51ac" providerId="ADAL" clId="{237E70BE-1C02-595C-AAD9-EF56B36E7E71}" dt="2025-11-25T11:16:02.289" v="253" actId="1076"/>
        <pc:sldMkLst>
          <pc:docMk/>
          <pc:sldMk cId="3489019230" sldId="331"/>
        </pc:sldMkLst>
        <pc:spChg chg="mod">
          <ac:chgData name="Jithin Thomas" userId="ef6c92be-06f2-4075-bbcf-ed38216b51ac" providerId="ADAL" clId="{237E70BE-1C02-595C-AAD9-EF56B36E7E71}" dt="2025-11-25T11:16:02.289" v="253" actId="1076"/>
          <ac:spMkLst>
            <pc:docMk/>
            <pc:sldMk cId="3489019230" sldId="331"/>
            <ac:spMk id="3" creationId="{3F3DB275-E790-A4F3-3468-B6A658B63F7C}"/>
          </ac:spMkLst>
        </pc:spChg>
        <pc:spChg chg="mod ord">
          <ac:chgData name="Jithin Thomas" userId="ef6c92be-06f2-4075-bbcf-ed38216b51ac" providerId="ADAL" clId="{237E70BE-1C02-595C-AAD9-EF56B36E7E71}" dt="2025-11-25T11:15:55.709" v="251" actId="700"/>
          <ac:spMkLst>
            <pc:docMk/>
            <pc:sldMk cId="3489019230" sldId="331"/>
            <ac:spMk id="4" creationId="{BBD9E094-69DC-75F1-CCAC-8A6179BEBF7D}"/>
          </ac:spMkLst>
        </pc:spChg>
        <pc:spChg chg="mod ord">
          <ac:chgData name="Jithin Thomas" userId="ef6c92be-06f2-4075-bbcf-ed38216b51ac" providerId="ADAL" clId="{237E70BE-1C02-595C-AAD9-EF56B36E7E71}" dt="2025-11-25T11:15:55.709" v="251" actId="700"/>
          <ac:spMkLst>
            <pc:docMk/>
            <pc:sldMk cId="3489019230" sldId="331"/>
            <ac:spMk id="9" creationId="{B13840C6-DBB3-0680-369A-4934AF970ED2}"/>
          </ac:spMkLst>
        </pc:spChg>
        <pc:spChg chg="mod ord">
          <ac:chgData name="Jithin Thomas" userId="ef6c92be-06f2-4075-bbcf-ed38216b51ac" providerId="ADAL" clId="{237E70BE-1C02-595C-AAD9-EF56B36E7E71}" dt="2025-11-25T11:15:58.739" v="252" actId="14100"/>
          <ac:spMkLst>
            <pc:docMk/>
            <pc:sldMk cId="3489019230" sldId="331"/>
            <ac:spMk id="12" creationId="{34802C23-982A-0A86-5B83-3973F5986575}"/>
          </ac:spMkLst>
        </pc:spChg>
        <pc:picChg chg="mod">
          <ac:chgData name="Jithin Thomas" userId="ef6c92be-06f2-4075-bbcf-ed38216b51ac" providerId="ADAL" clId="{237E70BE-1C02-595C-AAD9-EF56B36E7E71}" dt="2025-11-25T11:16:02.289" v="253" actId="1076"/>
          <ac:picMkLst>
            <pc:docMk/>
            <pc:sldMk cId="3489019230" sldId="331"/>
            <ac:picMk id="2" creationId="{AC927210-1D5B-9202-D8DE-E2FF9375422B}"/>
          </ac:picMkLst>
        </pc:picChg>
      </pc:sldChg>
      <pc:sldChg chg="modSp mod">
        <pc:chgData name="Jithin Thomas" userId="ef6c92be-06f2-4075-bbcf-ed38216b51ac" providerId="ADAL" clId="{237E70BE-1C02-595C-AAD9-EF56B36E7E71}" dt="2025-11-25T11:16:35.290" v="258" actId="14100"/>
        <pc:sldMkLst>
          <pc:docMk/>
          <pc:sldMk cId="3412060924" sldId="332"/>
        </pc:sldMkLst>
        <pc:spChg chg="mod">
          <ac:chgData name="Jithin Thomas" userId="ef6c92be-06f2-4075-bbcf-ed38216b51ac" providerId="ADAL" clId="{237E70BE-1C02-595C-AAD9-EF56B36E7E71}" dt="2025-11-25T11:16:35.290" v="258" actId="14100"/>
          <ac:spMkLst>
            <pc:docMk/>
            <pc:sldMk cId="3412060924" sldId="332"/>
            <ac:spMk id="12" creationId="{397B675A-0708-916A-EF6D-9706D7E7D819}"/>
          </ac:spMkLst>
        </pc:spChg>
        <pc:picChg chg="mod">
          <ac:chgData name="Jithin Thomas" userId="ef6c92be-06f2-4075-bbcf-ed38216b51ac" providerId="ADAL" clId="{237E70BE-1C02-595C-AAD9-EF56B36E7E71}" dt="2025-11-25T11:16:32.179" v="257" actId="1076"/>
          <ac:picMkLst>
            <pc:docMk/>
            <pc:sldMk cId="3412060924" sldId="332"/>
            <ac:picMk id="2" creationId="{62A67908-0391-FF12-FFB1-18D8C53F855A}"/>
          </ac:picMkLst>
        </pc:picChg>
      </pc:sldChg>
      <pc:sldChg chg="modSp mod chgLayout">
        <pc:chgData name="Jithin Thomas" userId="ef6c92be-06f2-4075-bbcf-ed38216b51ac" providerId="ADAL" clId="{237E70BE-1C02-595C-AAD9-EF56B36E7E71}" dt="2025-11-25T12:05:08.326" v="355" actId="14100"/>
        <pc:sldMkLst>
          <pc:docMk/>
          <pc:sldMk cId="3343977790" sldId="333"/>
        </pc:sldMkLst>
        <pc:spChg chg="mod ord">
          <ac:chgData name="Jithin Thomas" userId="ef6c92be-06f2-4075-bbcf-ed38216b51ac" providerId="ADAL" clId="{237E70BE-1C02-595C-AAD9-EF56B36E7E71}" dt="2025-11-25T12:04:59.361" v="351" actId="700"/>
          <ac:spMkLst>
            <pc:docMk/>
            <pc:sldMk cId="3343977790" sldId="333"/>
            <ac:spMk id="4" creationId="{BC8EFE1B-1D56-5AE3-67EC-56868B42D6BB}"/>
          </ac:spMkLst>
        </pc:spChg>
        <pc:spChg chg="mod ord">
          <ac:chgData name="Jithin Thomas" userId="ef6c92be-06f2-4075-bbcf-ed38216b51ac" providerId="ADAL" clId="{237E70BE-1C02-595C-AAD9-EF56B36E7E71}" dt="2025-11-25T12:04:59.361" v="351" actId="700"/>
          <ac:spMkLst>
            <pc:docMk/>
            <pc:sldMk cId="3343977790" sldId="333"/>
            <ac:spMk id="9" creationId="{DC708579-C235-EAD2-4B94-5DDFF360CA6C}"/>
          </ac:spMkLst>
        </pc:spChg>
        <pc:spChg chg="mod ord">
          <ac:chgData name="Jithin Thomas" userId="ef6c92be-06f2-4075-bbcf-ed38216b51ac" providerId="ADAL" clId="{237E70BE-1C02-595C-AAD9-EF56B36E7E71}" dt="2025-11-25T12:05:01.741" v="352" actId="14100"/>
          <ac:spMkLst>
            <pc:docMk/>
            <pc:sldMk cId="3343977790" sldId="333"/>
            <ac:spMk id="12" creationId="{30FA9B0C-D07C-0873-8C0D-F07D143165B4}"/>
          </ac:spMkLst>
        </pc:spChg>
        <pc:picChg chg="mod">
          <ac:chgData name="Jithin Thomas" userId="ef6c92be-06f2-4075-bbcf-ed38216b51ac" providerId="ADAL" clId="{237E70BE-1C02-595C-AAD9-EF56B36E7E71}" dt="2025-11-25T12:05:08.326" v="355" actId="14100"/>
          <ac:picMkLst>
            <pc:docMk/>
            <pc:sldMk cId="3343977790" sldId="333"/>
            <ac:picMk id="2" creationId="{59F5089B-EB2C-DCFC-1D36-EE78371D967F}"/>
          </ac:picMkLst>
        </pc:picChg>
      </pc:sldChg>
      <pc:sldChg chg="modSp mod chgLayout">
        <pc:chgData name="Jithin Thomas" userId="ef6c92be-06f2-4075-bbcf-ed38216b51ac" providerId="ADAL" clId="{237E70BE-1C02-595C-AAD9-EF56B36E7E71}" dt="2025-11-25T12:03:25.780" v="339" actId="14100"/>
        <pc:sldMkLst>
          <pc:docMk/>
          <pc:sldMk cId="1179839465" sldId="334"/>
        </pc:sldMkLst>
        <pc:spChg chg="mod ord">
          <ac:chgData name="Jithin Thomas" userId="ef6c92be-06f2-4075-bbcf-ed38216b51ac" providerId="ADAL" clId="{237E70BE-1C02-595C-AAD9-EF56B36E7E71}" dt="2025-11-25T12:03:23.411" v="338" actId="700"/>
          <ac:spMkLst>
            <pc:docMk/>
            <pc:sldMk cId="1179839465" sldId="334"/>
            <ac:spMk id="4" creationId="{95B6CDA7-E43B-2E22-7C76-55D88BC7D1C9}"/>
          </ac:spMkLst>
        </pc:spChg>
        <pc:spChg chg="mod ord">
          <ac:chgData name="Jithin Thomas" userId="ef6c92be-06f2-4075-bbcf-ed38216b51ac" providerId="ADAL" clId="{237E70BE-1C02-595C-AAD9-EF56B36E7E71}" dt="2025-11-25T12:03:23.411" v="338" actId="700"/>
          <ac:spMkLst>
            <pc:docMk/>
            <pc:sldMk cId="1179839465" sldId="334"/>
            <ac:spMk id="9" creationId="{4AEB445B-8776-1488-5873-10062E9D5D68}"/>
          </ac:spMkLst>
        </pc:spChg>
        <pc:spChg chg="mod ord">
          <ac:chgData name="Jithin Thomas" userId="ef6c92be-06f2-4075-bbcf-ed38216b51ac" providerId="ADAL" clId="{237E70BE-1C02-595C-AAD9-EF56B36E7E71}" dt="2025-11-25T12:03:25.780" v="339" actId="14100"/>
          <ac:spMkLst>
            <pc:docMk/>
            <pc:sldMk cId="1179839465" sldId="334"/>
            <ac:spMk id="12" creationId="{3D122FB5-106B-ABE9-7F38-35A06D0D4CAA}"/>
          </ac:spMkLst>
        </pc:spChg>
      </pc:sldChg>
      <pc:sldChg chg="delSp modSp add mod">
        <pc:chgData name="Jithin Thomas" userId="ef6c92be-06f2-4075-bbcf-ed38216b51ac" providerId="ADAL" clId="{237E70BE-1C02-595C-AAD9-EF56B36E7E71}" dt="2025-11-25T04:37:30.068" v="19" actId="20577"/>
        <pc:sldMkLst>
          <pc:docMk/>
          <pc:sldMk cId="4108582609" sldId="2147471292"/>
        </pc:sldMkLst>
        <pc:spChg chg="mod">
          <ac:chgData name="Jithin Thomas" userId="ef6c92be-06f2-4075-bbcf-ed38216b51ac" providerId="ADAL" clId="{237E70BE-1C02-595C-AAD9-EF56B36E7E71}" dt="2025-11-25T04:37:19.522" v="5"/>
          <ac:spMkLst>
            <pc:docMk/>
            <pc:sldMk cId="4108582609" sldId="2147471292"/>
            <ac:spMk id="10" creationId="{9DA5E241-B2EF-BA69-CF4B-A9D17C892CC6}"/>
          </ac:spMkLst>
        </pc:spChg>
        <pc:spChg chg="mod">
          <ac:chgData name="Jithin Thomas" userId="ef6c92be-06f2-4075-bbcf-ed38216b51ac" providerId="ADAL" clId="{237E70BE-1C02-595C-AAD9-EF56B36E7E71}" dt="2025-11-25T04:37:22.394" v="6" actId="20577"/>
          <ac:spMkLst>
            <pc:docMk/>
            <pc:sldMk cId="4108582609" sldId="2147471292"/>
            <ac:spMk id="11" creationId="{BF49DA14-9114-BD76-FF52-2E6113262AD2}"/>
          </ac:spMkLst>
        </pc:spChg>
        <pc:spChg chg="mod">
          <ac:chgData name="Jithin Thomas" userId="ef6c92be-06f2-4075-bbcf-ed38216b51ac" providerId="ADAL" clId="{237E70BE-1C02-595C-AAD9-EF56B36E7E71}" dt="2025-11-25T04:37:30.068" v="19" actId="20577"/>
          <ac:spMkLst>
            <pc:docMk/>
            <pc:sldMk cId="4108582609" sldId="2147471292"/>
            <ac:spMk id="14" creationId="{52546789-4E27-DC60-DB7D-888FF950390B}"/>
          </ac:spMkLst>
        </pc:spChg>
      </pc:sldChg>
      <pc:sldChg chg="modSp add mod">
        <pc:chgData name="Jithin Thomas" userId="ef6c92be-06f2-4075-bbcf-ed38216b51ac" providerId="ADAL" clId="{237E70BE-1C02-595C-AAD9-EF56B36E7E71}" dt="2025-11-25T12:12:56.514" v="463" actId="313"/>
        <pc:sldMkLst>
          <pc:docMk/>
          <pc:sldMk cId="1893458259" sldId="2147471294"/>
        </pc:sldMkLst>
        <pc:spChg chg="mod">
          <ac:chgData name="Jithin Thomas" userId="ef6c92be-06f2-4075-bbcf-ed38216b51ac" providerId="ADAL" clId="{237E70BE-1C02-595C-AAD9-EF56B36E7E71}" dt="2025-11-25T12:12:56.514" v="463" actId="313"/>
          <ac:spMkLst>
            <pc:docMk/>
            <pc:sldMk cId="1893458259" sldId="2147471294"/>
            <ac:spMk id="7" creationId="{C087DE12-C043-E501-AC5D-456A1D5337C1}"/>
          </ac:spMkLst>
        </pc:spChg>
      </pc:sldChg>
      <pc:sldChg chg="modSp add mod">
        <pc:chgData name="Jithin Thomas" userId="ef6c92be-06f2-4075-bbcf-ed38216b51ac" providerId="ADAL" clId="{237E70BE-1C02-595C-AAD9-EF56B36E7E71}" dt="2025-11-25T12:12:57.086" v="464" actId="313"/>
        <pc:sldMkLst>
          <pc:docMk/>
          <pc:sldMk cId="240089322" sldId="2147471295"/>
        </pc:sldMkLst>
        <pc:spChg chg="mod">
          <ac:chgData name="Jithin Thomas" userId="ef6c92be-06f2-4075-bbcf-ed38216b51ac" providerId="ADAL" clId="{237E70BE-1C02-595C-AAD9-EF56B36E7E71}" dt="2025-11-25T12:12:57.086" v="464" actId="313"/>
          <ac:spMkLst>
            <pc:docMk/>
            <pc:sldMk cId="240089322" sldId="2147471295"/>
            <ac:spMk id="7" creationId="{A746F8FB-3AE3-72C3-C85E-1A69FA9A8BB7}"/>
          </ac:spMkLst>
        </pc:spChg>
      </pc:sldChg>
      <pc:sldChg chg="modSp add mod">
        <pc:chgData name="Jithin Thomas" userId="ef6c92be-06f2-4075-bbcf-ed38216b51ac" providerId="ADAL" clId="{237E70BE-1C02-595C-AAD9-EF56B36E7E71}" dt="2025-11-25T12:13:01.768" v="466" actId="33524"/>
        <pc:sldMkLst>
          <pc:docMk/>
          <pc:sldMk cId="1145650263" sldId="2147471296"/>
        </pc:sldMkLst>
        <pc:spChg chg="mod">
          <ac:chgData name="Jithin Thomas" userId="ef6c92be-06f2-4075-bbcf-ed38216b51ac" providerId="ADAL" clId="{237E70BE-1C02-595C-AAD9-EF56B36E7E71}" dt="2025-11-25T12:13:01.768" v="466" actId="33524"/>
          <ac:spMkLst>
            <pc:docMk/>
            <pc:sldMk cId="1145650263" sldId="2147471296"/>
            <ac:spMk id="7" creationId="{AA6461C8-61C2-BAE4-1FF3-EDD72AEA2FBF}"/>
          </ac:spMkLst>
        </pc:spChg>
      </pc:sldChg>
      <pc:sldChg chg="add">
        <pc:chgData name="Jithin Thomas" userId="ef6c92be-06f2-4075-bbcf-ed38216b51ac" providerId="ADAL" clId="{237E70BE-1C02-595C-AAD9-EF56B36E7E71}" dt="2025-11-25T10:12:00.060" v="30"/>
        <pc:sldMkLst>
          <pc:docMk/>
          <pc:sldMk cId="2300327033" sldId="2147471299"/>
        </pc:sldMkLst>
      </pc:sldChg>
      <pc:sldChg chg="add">
        <pc:chgData name="Jithin Thomas" userId="ef6c92be-06f2-4075-bbcf-ed38216b51ac" providerId="ADAL" clId="{237E70BE-1C02-595C-AAD9-EF56B36E7E71}" dt="2025-11-25T10:12:00.060" v="30"/>
        <pc:sldMkLst>
          <pc:docMk/>
          <pc:sldMk cId="3541400512" sldId="2147471300"/>
        </pc:sldMkLst>
      </pc:sldChg>
      <pc:sldChg chg="modSp mod">
        <pc:chgData name="Jithin Thomas" userId="ef6c92be-06f2-4075-bbcf-ed38216b51ac" providerId="ADAL" clId="{237E70BE-1C02-595C-AAD9-EF56B36E7E71}" dt="2025-11-25T10:14:27.579" v="46" actId="179"/>
        <pc:sldMkLst>
          <pc:docMk/>
          <pc:sldMk cId="3022175699" sldId="2147471554"/>
        </pc:sldMkLst>
        <pc:graphicFrameChg chg="mod modGraphic">
          <ac:chgData name="Jithin Thomas" userId="ef6c92be-06f2-4075-bbcf-ed38216b51ac" providerId="ADAL" clId="{237E70BE-1C02-595C-AAD9-EF56B36E7E71}" dt="2025-11-25T10:14:27.579" v="46" actId="179"/>
          <ac:graphicFrameMkLst>
            <pc:docMk/>
            <pc:sldMk cId="3022175699" sldId="2147471554"/>
            <ac:graphicFrameMk id="4" creationId="{A7688D3D-EDC0-A370-B0F2-FBBA5BC231B7}"/>
          </ac:graphicFrameMkLst>
        </pc:graphicFrameChg>
      </pc:sldChg>
      <pc:sldChg chg="modSp mod chgLayout">
        <pc:chgData name="Jithin Thomas" userId="ef6c92be-06f2-4075-bbcf-ed38216b51ac" providerId="ADAL" clId="{237E70BE-1C02-595C-AAD9-EF56B36E7E71}" dt="2025-11-25T12:07:46.916" v="387" actId="14100"/>
        <pc:sldMkLst>
          <pc:docMk/>
          <pc:sldMk cId="3265026762" sldId="2147480925"/>
        </pc:sldMkLst>
        <pc:spChg chg="mod ord">
          <ac:chgData name="Jithin Thomas" userId="ef6c92be-06f2-4075-bbcf-ed38216b51ac" providerId="ADAL" clId="{237E70BE-1C02-595C-AAD9-EF56B36E7E71}" dt="2025-11-25T12:07:42.976" v="386" actId="700"/>
          <ac:spMkLst>
            <pc:docMk/>
            <pc:sldMk cId="3265026762" sldId="2147480925"/>
            <ac:spMk id="2" creationId="{DDC8265E-7C7C-F568-2D6A-6C76F3ED882B}"/>
          </ac:spMkLst>
        </pc:spChg>
        <pc:spChg chg="mod ord">
          <ac:chgData name="Jithin Thomas" userId="ef6c92be-06f2-4075-bbcf-ed38216b51ac" providerId="ADAL" clId="{237E70BE-1C02-595C-AAD9-EF56B36E7E71}" dt="2025-11-25T12:07:42.976" v="386" actId="700"/>
          <ac:spMkLst>
            <pc:docMk/>
            <pc:sldMk cId="3265026762" sldId="2147480925"/>
            <ac:spMk id="19" creationId="{2F35FE78-695B-20EA-2679-8ED100866958}"/>
          </ac:spMkLst>
        </pc:spChg>
        <pc:spChg chg="mod ord">
          <ac:chgData name="Jithin Thomas" userId="ef6c92be-06f2-4075-bbcf-ed38216b51ac" providerId="ADAL" clId="{237E70BE-1C02-595C-AAD9-EF56B36E7E71}" dt="2025-11-25T12:07:42.976" v="386" actId="700"/>
          <ac:spMkLst>
            <pc:docMk/>
            <pc:sldMk cId="3265026762" sldId="2147480925"/>
            <ac:spMk id="20" creationId="{4E9F7CD3-5901-A386-EAC1-DC06DD85B470}"/>
          </ac:spMkLst>
        </pc:spChg>
        <pc:grpChg chg="mod">
          <ac:chgData name="Jithin Thomas" userId="ef6c92be-06f2-4075-bbcf-ed38216b51ac" providerId="ADAL" clId="{237E70BE-1C02-595C-AAD9-EF56B36E7E71}" dt="2025-11-25T12:07:46.916" v="387" actId="14100"/>
          <ac:grpSpMkLst>
            <pc:docMk/>
            <pc:sldMk cId="3265026762" sldId="2147480925"/>
            <ac:grpSpMk id="4" creationId="{5A70BB80-5CE9-FFB5-0698-B0F2AA42D6A2}"/>
          </ac:grpSpMkLst>
        </pc:grpChg>
        <pc:picChg chg="mod">
          <ac:chgData name="Jithin Thomas" userId="ef6c92be-06f2-4075-bbcf-ed38216b51ac" providerId="ADAL" clId="{237E70BE-1C02-595C-AAD9-EF56B36E7E71}" dt="2025-11-25T12:07:46.916" v="387" actId="14100"/>
          <ac:picMkLst>
            <pc:docMk/>
            <pc:sldMk cId="3265026762" sldId="2147480925"/>
            <ac:picMk id="5" creationId="{8512B83B-F32A-4666-7D85-EA6F0CAECF0F}"/>
          </ac:picMkLst>
        </pc:picChg>
        <pc:picChg chg="mod">
          <ac:chgData name="Jithin Thomas" userId="ef6c92be-06f2-4075-bbcf-ed38216b51ac" providerId="ADAL" clId="{237E70BE-1C02-595C-AAD9-EF56B36E7E71}" dt="2025-11-25T12:07:46.916" v="387" actId="14100"/>
          <ac:picMkLst>
            <pc:docMk/>
            <pc:sldMk cId="3265026762" sldId="2147480925"/>
            <ac:picMk id="4098" creationId="{1691D4DF-C472-B894-C251-0265F12B0A35}"/>
          </ac:picMkLst>
        </pc:picChg>
      </pc:sldChg>
      <pc:sldChg chg="modSp mod chgLayout">
        <pc:chgData name="Jithin Thomas" userId="ef6c92be-06f2-4075-bbcf-ed38216b51ac" providerId="ADAL" clId="{237E70BE-1C02-595C-AAD9-EF56B36E7E71}" dt="2025-11-25T12:09:22.614" v="406" actId="20577"/>
        <pc:sldMkLst>
          <pc:docMk/>
          <pc:sldMk cId="2235450154" sldId="2147480932"/>
        </pc:sldMkLst>
        <pc:spChg chg="mod ord">
          <ac:chgData name="Jithin Thomas" userId="ef6c92be-06f2-4075-bbcf-ed38216b51ac" providerId="ADAL" clId="{237E70BE-1C02-595C-AAD9-EF56B36E7E71}" dt="2025-11-25T12:08:43.215" v="397" actId="700"/>
          <ac:spMkLst>
            <pc:docMk/>
            <pc:sldMk cId="2235450154" sldId="2147480932"/>
            <ac:spMk id="2" creationId="{DDC8265E-7C7C-F568-2D6A-6C76F3ED882B}"/>
          </ac:spMkLst>
        </pc:spChg>
        <pc:spChg chg="mod ord">
          <ac:chgData name="Jithin Thomas" userId="ef6c92be-06f2-4075-bbcf-ed38216b51ac" providerId="ADAL" clId="{237E70BE-1C02-595C-AAD9-EF56B36E7E71}" dt="2025-11-25T12:08:43.215" v="397" actId="700"/>
          <ac:spMkLst>
            <pc:docMk/>
            <pc:sldMk cId="2235450154" sldId="2147480932"/>
            <ac:spMk id="17" creationId="{BCC07735-D4F1-F7EF-616E-2FACCAB9C241}"/>
          </ac:spMkLst>
        </pc:spChg>
        <pc:spChg chg="mod ord">
          <ac:chgData name="Jithin Thomas" userId="ef6c92be-06f2-4075-bbcf-ed38216b51ac" providerId="ADAL" clId="{237E70BE-1C02-595C-AAD9-EF56B36E7E71}" dt="2025-11-25T12:09:22.614" v="406" actId="20577"/>
          <ac:spMkLst>
            <pc:docMk/>
            <pc:sldMk cId="2235450154" sldId="2147480932"/>
            <ac:spMk id="18" creationId="{6EDAFD92-9589-48AD-64E0-8FBADF29F8BD}"/>
          </ac:spMkLst>
        </pc:spChg>
        <pc:grpChg chg="mod">
          <ac:chgData name="Jithin Thomas" userId="ef6c92be-06f2-4075-bbcf-ed38216b51ac" providerId="ADAL" clId="{237E70BE-1C02-595C-AAD9-EF56B36E7E71}" dt="2025-11-25T12:09:17.233" v="405" actId="14100"/>
          <ac:grpSpMkLst>
            <pc:docMk/>
            <pc:sldMk cId="2235450154" sldId="2147480932"/>
            <ac:grpSpMk id="7" creationId="{A91276FC-3D39-64D0-1F51-F961F62788BE}"/>
          </ac:grpSpMkLst>
        </pc:grpChg>
      </pc:sldChg>
      <pc:sldChg chg="addSp modSp mod chgLayout">
        <pc:chgData name="Jithin Thomas" userId="ef6c92be-06f2-4075-bbcf-ed38216b51ac" providerId="ADAL" clId="{237E70BE-1C02-595C-AAD9-EF56B36E7E71}" dt="2025-11-25T12:10:08.506" v="419" actId="2711"/>
        <pc:sldMkLst>
          <pc:docMk/>
          <pc:sldMk cId="2618334398" sldId="2147480933"/>
        </pc:sldMkLst>
        <pc:spChg chg="mod ord">
          <ac:chgData name="Jithin Thomas" userId="ef6c92be-06f2-4075-bbcf-ed38216b51ac" providerId="ADAL" clId="{237E70BE-1C02-595C-AAD9-EF56B36E7E71}" dt="2025-11-25T12:09:33.962" v="407" actId="700"/>
          <ac:spMkLst>
            <pc:docMk/>
            <pc:sldMk cId="2618334398" sldId="2147480933"/>
            <ac:spMk id="2" creationId="{DDC8265E-7C7C-F568-2D6A-6C76F3ED882B}"/>
          </ac:spMkLst>
        </pc:spChg>
        <pc:spChg chg="mod">
          <ac:chgData name="Jithin Thomas" userId="ef6c92be-06f2-4075-bbcf-ed38216b51ac" providerId="ADAL" clId="{237E70BE-1C02-595C-AAD9-EF56B36E7E71}" dt="2025-11-25T12:10:08.506" v="419" actId="2711"/>
          <ac:spMkLst>
            <pc:docMk/>
            <pc:sldMk cId="2618334398" sldId="2147480933"/>
            <ac:spMk id="6" creationId="{852A0620-9DAE-104C-DA08-154DD9406AD8}"/>
          </ac:spMkLst>
        </pc:spChg>
        <pc:spChg chg="mod">
          <ac:chgData name="Jithin Thomas" userId="ef6c92be-06f2-4075-bbcf-ed38216b51ac" providerId="ADAL" clId="{237E70BE-1C02-595C-AAD9-EF56B36E7E71}" dt="2025-11-25T12:10:08.506" v="419" actId="2711"/>
          <ac:spMkLst>
            <pc:docMk/>
            <pc:sldMk cId="2618334398" sldId="2147480933"/>
            <ac:spMk id="7" creationId="{F4BAE515-3CC3-77BA-C5F3-C4FE173EFE1D}"/>
          </ac:spMkLst>
        </pc:spChg>
        <pc:spChg chg="mod">
          <ac:chgData name="Jithin Thomas" userId="ef6c92be-06f2-4075-bbcf-ed38216b51ac" providerId="ADAL" clId="{237E70BE-1C02-595C-AAD9-EF56B36E7E71}" dt="2025-11-25T12:10:08.506" v="419" actId="2711"/>
          <ac:spMkLst>
            <pc:docMk/>
            <pc:sldMk cId="2618334398" sldId="2147480933"/>
            <ac:spMk id="8" creationId="{E1303178-0041-9ECA-7A7D-77DDCC18331E}"/>
          </ac:spMkLst>
        </pc:spChg>
        <pc:spChg chg="mod">
          <ac:chgData name="Jithin Thomas" userId="ef6c92be-06f2-4075-bbcf-ed38216b51ac" providerId="ADAL" clId="{237E70BE-1C02-595C-AAD9-EF56B36E7E71}" dt="2025-11-25T12:10:08.506" v="419" actId="2711"/>
          <ac:spMkLst>
            <pc:docMk/>
            <pc:sldMk cId="2618334398" sldId="2147480933"/>
            <ac:spMk id="10" creationId="{E2EE3A2C-29FC-9489-896C-AF2F50B24E1D}"/>
          </ac:spMkLst>
        </pc:spChg>
        <pc:spChg chg="mod">
          <ac:chgData name="Jithin Thomas" userId="ef6c92be-06f2-4075-bbcf-ed38216b51ac" providerId="ADAL" clId="{237E70BE-1C02-595C-AAD9-EF56B36E7E71}" dt="2025-11-25T12:10:08.506" v="419" actId="2711"/>
          <ac:spMkLst>
            <pc:docMk/>
            <pc:sldMk cId="2618334398" sldId="2147480933"/>
            <ac:spMk id="11" creationId="{45955EC4-681C-8969-0781-7C5C871EB6B7}"/>
          </ac:spMkLst>
        </pc:spChg>
        <pc:spChg chg="mod">
          <ac:chgData name="Jithin Thomas" userId="ef6c92be-06f2-4075-bbcf-ed38216b51ac" providerId="ADAL" clId="{237E70BE-1C02-595C-AAD9-EF56B36E7E71}" dt="2025-11-25T12:10:08.506" v="419" actId="2711"/>
          <ac:spMkLst>
            <pc:docMk/>
            <pc:sldMk cId="2618334398" sldId="2147480933"/>
            <ac:spMk id="12" creationId="{FDC7F74D-12BF-A8ED-C124-76D43E678DB2}"/>
          </ac:spMkLst>
        </pc:spChg>
        <pc:spChg chg="mod ord">
          <ac:chgData name="Jithin Thomas" userId="ef6c92be-06f2-4075-bbcf-ed38216b51ac" providerId="ADAL" clId="{237E70BE-1C02-595C-AAD9-EF56B36E7E71}" dt="2025-11-25T12:09:33.962" v="407" actId="700"/>
          <ac:spMkLst>
            <pc:docMk/>
            <pc:sldMk cId="2618334398" sldId="2147480933"/>
            <ac:spMk id="19" creationId="{7E3CE92C-BD55-B83F-E196-5ACB4E6E4C47}"/>
          </ac:spMkLst>
        </pc:spChg>
        <pc:spChg chg="mod ord">
          <ac:chgData name="Jithin Thomas" userId="ef6c92be-06f2-4075-bbcf-ed38216b51ac" providerId="ADAL" clId="{237E70BE-1C02-595C-AAD9-EF56B36E7E71}" dt="2025-11-25T12:09:54.428" v="416" actId="404"/>
          <ac:spMkLst>
            <pc:docMk/>
            <pc:sldMk cId="2618334398" sldId="2147480933"/>
            <ac:spMk id="20" creationId="{E17FCB40-5E7F-AFA7-65F9-033E2A7594D5}"/>
          </ac:spMkLst>
        </pc:spChg>
        <pc:grpChg chg="add mod">
          <ac:chgData name="Jithin Thomas" userId="ef6c92be-06f2-4075-bbcf-ed38216b51ac" providerId="ADAL" clId="{237E70BE-1C02-595C-AAD9-EF56B36E7E71}" dt="2025-11-25T12:10:05.727" v="418" actId="14100"/>
          <ac:grpSpMkLst>
            <pc:docMk/>
            <pc:sldMk cId="2618334398" sldId="2147480933"/>
            <ac:grpSpMk id="3" creationId="{1326984E-6452-CFAE-E6AA-C865A95C266A}"/>
          </ac:grpSpMkLst>
        </pc:grpChg>
        <pc:picChg chg="mod">
          <ac:chgData name="Jithin Thomas" userId="ef6c92be-06f2-4075-bbcf-ed38216b51ac" providerId="ADAL" clId="{237E70BE-1C02-595C-AAD9-EF56B36E7E71}" dt="2025-11-25T12:10:01.566" v="417" actId="164"/>
          <ac:picMkLst>
            <pc:docMk/>
            <pc:sldMk cId="2618334398" sldId="2147480933"/>
            <ac:picMk id="5" creationId="{C1F103D0-1277-56F2-E627-201D65B44774}"/>
          </ac:picMkLst>
        </pc:picChg>
      </pc:sldChg>
      <pc:sldChg chg="addSp delSp modSp mod chgLayout">
        <pc:chgData name="Jithin Thomas" userId="ef6c92be-06f2-4075-bbcf-ed38216b51ac" providerId="ADAL" clId="{237E70BE-1C02-595C-AAD9-EF56B36E7E71}" dt="2025-11-25T12:08:07.684" v="391" actId="14100"/>
        <pc:sldMkLst>
          <pc:docMk/>
          <pc:sldMk cId="701155323" sldId="2147480934"/>
        </pc:sldMkLst>
        <pc:spChg chg="mod ord">
          <ac:chgData name="Jithin Thomas" userId="ef6c92be-06f2-4075-bbcf-ed38216b51ac" providerId="ADAL" clId="{237E70BE-1C02-595C-AAD9-EF56B36E7E71}" dt="2025-11-25T12:08:01.041" v="388" actId="700"/>
          <ac:spMkLst>
            <pc:docMk/>
            <pc:sldMk cId="701155323" sldId="2147480934"/>
            <ac:spMk id="2" creationId="{DDC8265E-7C7C-F568-2D6A-6C76F3ED882B}"/>
          </ac:spMkLst>
        </pc:spChg>
        <pc:spChg chg="mod ord">
          <ac:chgData name="Jithin Thomas" userId="ef6c92be-06f2-4075-bbcf-ed38216b51ac" providerId="ADAL" clId="{237E70BE-1C02-595C-AAD9-EF56B36E7E71}" dt="2025-11-25T12:08:05.335" v="390" actId="14100"/>
          <ac:spMkLst>
            <pc:docMk/>
            <pc:sldMk cId="701155323" sldId="2147480934"/>
            <ac:spMk id="19" creationId="{6532ABB2-BB2B-89FC-6E46-BF6B5C435325}"/>
          </ac:spMkLst>
        </pc:spChg>
        <pc:grpChg chg="mod">
          <ac:chgData name="Jithin Thomas" userId="ef6c92be-06f2-4075-bbcf-ed38216b51ac" providerId="ADAL" clId="{237E70BE-1C02-595C-AAD9-EF56B36E7E71}" dt="2025-11-25T12:08:07.684" v="391" actId="14100"/>
          <ac:grpSpMkLst>
            <pc:docMk/>
            <pc:sldMk cId="701155323" sldId="2147480934"/>
            <ac:grpSpMk id="5" creationId="{2B9F0757-6F38-B28B-3554-BB4398AA9528}"/>
          </ac:grpSpMkLst>
        </pc:grpChg>
      </pc:sldChg>
      <pc:sldChg chg="addSp delSp modSp mod chgLayout">
        <pc:chgData name="Jithin Thomas" userId="ef6c92be-06f2-4075-bbcf-ed38216b51ac" providerId="ADAL" clId="{237E70BE-1C02-595C-AAD9-EF56B36E7E71}" dt="2025-11-25T12:08:22.517" v="396" actId="1076"/>
        <pc:sldMkLst>
          <pc:docMk/>
          <pc:sldMk cId="31408025" sldId="2147481031"/>
        </pc:sldMkLst>
        <pc:spChg chg="mod ord">
          <ac:chgData name="Jithin Thomas" userId="ef6c92be-06f2-4075-bbcf-ed38216b51ac" providerId="ADAL" clId="{237E70BE-1C02-595C-AAD9-EF56B36E7E71}" dt="2025-11-25T12:08:14.835" v="392" actId="700"/>
          <ac:spMkLst>
            <pc:docMk/>
            <pc:sldMk cId="31408025" sldId="2147481031"/>
            <ac:spMk id="2" creationId="{3033949D-C470-8C94-DC72-186F53D56996}"/>
          </ac:spMkLst>
        </pc:spChg>
        <pc:spChg chg="mod ord">
          <ac:chgData name="Jithin Thomas" userId="ef6c92be-06f2-4075-bbcf-ed38216b51ac" providerId="ADAL" clId="{237E70BE-1C02-595C-AAD9-EF56B36E7E71}" dt="2025-11-25T12:08:14.835" v="392" actId="700"/>
          <ac:spMkLst>
            <pc:docMk/>
            <pc:sldMk cId="31408025" sldId="2147481031"/>
            <ac:spMk id="13" creationId="{B54D76CD-E573-C4CB-DAD2-6AB6B1063D71}"/>
          </ac:spMkLst>
        </pc:spChg>
        <pc:picChg chg="mod">
          <ac:chgData name="Jithin Thomas" userId="ef6c92be-06f2-4075-bbcf-ed38216b51ac" providerId="ADAL" clId="{237E70BE-1C02-595C-AAD9-EF56B36E7E71}" dt="2025-11-25T12:08:22.517" v="396" actId="1076"/>
          <ac:picMkLst>
            <pc:docMk/>
            <pc:sldMk cId="31408025" sldId="2147481031"/>
            <ac:picMk id="4" creationId="{94DF8BF3-754E-F1DD-A3D9-EFA74926C618}"/>
          </ac:picMkLst>
        </pc:picChg>
      </pc:sldChg>
      <pc:sldChg chg="addSp modSp mod">
        <pc:chgData name="Jithin Thomas" userId="ef6c92be-06f2-4075-bbcf-ed38216b51ac" providerId="ADAL" clId="{237E70BE-1C02-595C-AAD9-EF56B36E7E71}" dt="2025-11-25T10:21:05.791" v="128" actId="122"/>
        <pc:sldMkLst>
          <pc:docMk/>
          <pc:sldMk cId="2576185123" sldId="2147483645"/>
        </pc:sldMkLst>
        <pc:spChg chg="mod">
          <ac:chgData name="Jithin Thomas" userId="ef6c92be-06f2-4075-bbcf-ed38216b51ac" providerId="ADAL" clId="{237E70BE-1C02-595C-AAD9-EF56B36E7E71}" dt="2025-11-25T10:18:32.698" v="95" actId="21"/>
          <ac:spMkLst>
            <pc:docMk/>
            <pc:sldMk cId="2576185123" sldId="2147483645"/>
            <ac:spMk id="2" creationId="{41AC0F77-5211-A063-7CFD-23227B2C0FB6}"/>
          </ac:spMkLst>
        </pc:spChg>
        <pc:spChg chg="mod">
          <ac:chgData name="Jithin Thomas" userId="ef6c92be-06f2-4075-bbcf-ed38216b51ac" providerId="ADAL" clId="{237E70BE-1C02-595C-AAD9-EF56B36E7E71}" dt="2025-11-25T10:21:05.791" v="128" actId="122"/>
          <ac:spMkLst>
            <pc:docMk/>
            <pc:sldMk cId="2576185123" sldId="2147483645"/>
            <ac:spMk id="6" creationId="{B2B04464-DDF6-AD61-AA62-E2E083053E1E}"/>
          </ac:spMkLst>
        </pc:spChg>
        <pc:spChg chg="mod">
          <ac:chgData name="Jithin Thomas" userId="ef6c92be-06f2-4075-bbcf-ed38216b51ac" providerId="ADAL" clId="{237E70BE-1C02-595C-AAD9-EF56B36E7E71}" dt="2025-11-25T10:19:03.522" v="100" actId="21"/>
          <ac:spMkLst>
            <pc:docMk/>
            <pc:sldMk cId="2576185123" sldId="2147483645"/>
            <ac:spMk id="7" creationId="{C733D7D2-466C-E50C-E38B-AF82DC3DBBA7}"/>
          </ac:spMkLst>
        </pc:spChg>
        <pc:spChg chg="mod">
          <ac:chgData name="Jithin Thomas" userId="ef6c92be-06f2-4075-bbcf-ed38216b51ac" providerId="ADAL" clId="{237E70BE-1C02-595C-AAD9-EF56B36E7E71}" dt="2025-11-25T10:19:59.207" v="114" actId="20577"/>
          <ac:spMkLst>
            <pc:docMk/>
            <pc:sldMk cId="2576185123" sldId="2147483645"/>
            <ac:spMk id="8" creationId="{E9400BE5-18C6-5BD9-4260-614BFF94D32B}"/>
          </ac:spMkLst>
        </pc:spChg>
        <pc:spChg chg="add mod">
          <ac:chgData name="Jithin Thomas" userId="ef6c92be-06f2-4075-bbcf-ed38216b51ac" providerId="ADAL" clId="{237E70BE-1C02-595C-AAD9-EF56B36E7E71}" dt="2025-11-25T10:20:50.076" v="124" actId="255"/>
          <ac:spMkLst>
            <pc:docMk/>
            <pc:sldMk cId="2576185123" sldId="2147483645"/>
            <ac:spMk id="9" creationId="{D331683A-CABD-734B-B513-48FE66A234A6}"/>
          </ac:spMkLst>
        </pc:spChg>
        <pc:spChg chg="mod">
          <ac:chgData name="Jithin Thomas" userId="ef6c92be-06f2-4075-bbcf-ed38216b51ac" providerId="ADAL" clId="{237E70BE-1C02-595C-AAD9-EF56B36E7E71}" dt="2025-11-25T10:20:24.695" v="118" actId="20577"/>
          <ac:spMkLst>
            <pc:docMk/>
            <pc:sldMk cId="2576185123" sldId="2147483645"/>
            <ac:spMk id="10" creationId="{2AA24A1D-4277-8D27-1C02-CCF2CB56F597}"/>
          </ac:spMkLst>
        </pc:spChg>
        <pc:spChg chg="mod">
          <ac:chgData name="Jithin Thomas" userId="ef6c92be-06f2-4075-bbcf-ed38216b51ac" providerId="ADAL" clId="{237E70BE-1C02-595C-AAD9-EF56B36E7E71}" dt="2025-11-25T10:21:03.876" v="127" actId="122"/>
          <ac:spMkLst>
            <pc:docMk/>
            <pc:sldMk cId="2576185123" sldId="2147483645"/>
            <ac:spMk id="14" creationId="{8E332003-C02D-84A5-60AD-FD467800C1B7}"/>
          </ac:spMkLst>
        </pc:spChg>
        <pc:spChg chg="mod">
          <ac:chgData name="Jithin Thomas" userId="ef6c92be-06f2-4075-bbcf-ed38216b51ac" providerId="ADAL" clId="{237E70BE-1C02-595C-AAD9-EF56B36E7E71}" dt="2025-11-25T10:21:01.977" v="126" actId="122"/>
          <ac:spMkLst>
            <pc:docMk/>
            <pc:sldMk cId="2576185123" sldId="2147483645"/>
            <ac:spMk id="17" creationId="{4F68C01E-7600-4E11-9428-568324468AD9}"/>
          </ac:spMkLst>
        </pc:spChg>
        <pc:spChg chg="add mod">
          <ac:chgData name="Jithin Thomas" userId="ef6c92be-06f2-4075-bbcf-ed38216b51ac" providerId="ADAL" clId="{237E70BE-1C02-595C-AAD9-EF56B36E7E71}" dt="2025-11-25T10:20:50.076" v="124" actId="255"/>
          <ac:spMkLst>
            <pc:docMk/>
            <pc:sldMk cId="2576185123" sldId="2147483645"/>
            <ac:spMk id="19" creationId="{E5B2D924-2C20-4D5F-BFE2-5FEF79F612C6}"/>
          </ac:spMkLst>
        </pc:spChg>
        <pc:spChg chg="mod">
          <ac:chgData name="Jithin Thomas" userId="ef6c92be-06f2-4075-bbcf-ed38216b51ac" providerId="ADAL" clId="{237E70BE-1C02-595C-AAD9-EF56B36E7E71}" dt="2025-11-25T10:20:59.229" v="125" actId="122"/>
          <ac:spMkLst>
            <pc:docMk/>
            <pc:sldMk cId="2576185123" sldId="2147483645"/>
            <ac:spMk id="21" creationId="{1EDDD80B-4917-9D9E-7462-77677C575989}"/>
          </ac:spMkLst>
        </pc:spChg>
        <pc:spChg chg="add mod">
          <ac:chgData name="Jithin Thomas" userId="ef6c92be-06f2-4075-bbcf-ed38216b51ac" providerId="ADAL" clId="{237E70BE-1C02-595C-AAD9-EF56B36E7E71}" dt="2025-11-25T10:20:50.076" v="124" actId="255"/>
          <ac:spMkLst>
            <pc:docMk/>
            <pc:sldMk cId="2576185123" sldId="2147483645"/>
            <ac:spMk id="22" creationId="{2F269A25-E792-3CB9-1252-4891C78370AF}"/>
          </ac:spMkLst>
        </pc:spChg>
        <pc:spChg chg="add mod">
          <ac:chgData name="Jithin Thomas" userId="ef6c92be-06f2-4075-bbcf-ed38216b51ac" providerId="ADAL" clId="{237E70BE-1C02-595C-AAD9-EF56B36E7E71}" dt="2025-11-25T10:20:42.135" v="123"/>
          <ac:spMkLst>
            <pc:docMk/>
            <pc:sldMk cId="2576185123" sldId="2147483645"/>
            <ac:spMk id="23" creationId="{131FCDDD-DE72-AA36-9A26-FC32D6659B81}"/>
          </ac:spMkLst>
        </pc:spChg>
      </pc:sldChg>
      <pc:sldChg chg="addSp delSp modSp mod chgLayout">
        <pc:chgData name="Jithin Thomas" userId="ef6c92be-06f2-4075-bbcf-ed38216b51ac" providerId="ADAL" clId="{237E70BE-1C02-595C-AAD9-EF56B36E7E71}" dt="2025-11-25T10:27:36.144" v="173" actId="700"/>
        <pc:sldMkLst>
          <pc:docMk/>
          <pc:sldMk cId="1222995992" sldId="2147483646"/>
        </pc:sldMkLst>
        <pc:spChg chg="mod ord">
          <ac:chgData name="Jithin Thomas" userId="ef6c92be-06f2-4075-bbcf-ed38216b51ac" providerId="ADAL" clId="{237E70BE-1C02-595C-AAD9-EF56B36E7E71}" dt="2025-11-25T10:27:36.144" v="173" actId="700"/>
          <ac:spMkLst>
            <pc:docMk/>
            <pc:sldMk cId="1222995992" sldId="2147483646"/>
            <ac:spMk id="2" creationId="{7CC90275-7C75-2D83-5451-83B92A038792}"/>
          </ac:spMkLst>
        </pc:spChg>
        <pc:spChg chg="mod ord">
          <ac:chgData name="Jithin Thomas" userId="ef6c92be-06f2-4075-bbcf-ed38216b51ac" providerId="ADAL" clId="{237E70BE-1C02-595C-AAD9-EF56B36E7E71}" dt="2025-11-25T10:27:36.144" v="173" actId="700"/>
          <ac:spMkLst>
            <pc:docMk/>
            <pc:sldMk cId="1222995992" sldId="2147483646"/>
            <ac:spMk id="4" creationId="{56AA968D-7346-67AC-711F-9CD20A9E95D5}"/>
          </ac:spMkLst>
        </pc:spChg>
      </pc:sldChg>
      <pc:sldChg chg="modSp mod">
        <pc:chgData name="Jithin Thomas" userId="ef6c92be-06f2-4075-bbcf-ed38216b51ac" providerId="ADAL" clId="{237E70BE-1C02-595C-AAD9-EF56B36E7E71}" dt="2025-11-25T11:18:07.817" v="267" actId="20577"/>
        <pc:sldMkLst>
          <pc:docMk/>
          <pc:sldMk cId="3749642113" sldId="2147483647"/>
        </pc:sldMkLst>
        <pc:spChg chg="mod">
          <ac:chgData name="Jithin Thomas" userId="ef6c92be-06f2-4075-bbcf-ed38216b51ac" providerId="ADAL" clId="{237E70BE-1C02-595C-AAD9-EF56B36E7E71}" dt="2025-11-25T11:18:07.817" v="267" actId="20577"/>
          <ac:spMkLst>
            <pc:docMk/>
            <pc:sldMk cId="3749642113" sldId="2147483647"/>
            <ac:spMk id="4" creationId="{87AA066A-3271-50C5-1A6B-3DEBDC9A214D}"/>
          </ac:spMkLst>
        </pc:spChg>
      </pc:sldChg>
      <pc:sldMasterChg chg="addSp delSp modSp mod modSldLayout">
        <pc:chgData name="Jithin Thomas" userId="ef6c92be-06f2-4075-bbcf-ed38216b51ac" providerId="ADAL" clId="{237E70BE-1C02-595C-AAD9-EF56B36E7E71}" dt="2025-11-25T10:17:59.638" v="92" actId="478"/>
        <pc:sldMasterMkLst>
          <pc:docMk/>
          <pc:sldMasterMk cId="292190733" sldId="2147485114"/>
        </pc:sldMasterMkLst>
        <pc:spChg chg="add mod">
          <ac:chgData name="Jithin Thomas" userId="ef6c92be-06f2-4075-bbcf-ed38216b51ac" providerId="ADAL" clId="{237E70BE-1C02-595C-AAD9-EF56B36E7E71}" dt="2025-11-25T10:15:21.681" v="48"/>
          <ac:spMkLst>
            <pc:docMk/>
            <pc:sldMasterMk cId="292190733" sldId="2147485114"/>
            <ac:spMk id="6" creationId="{E2239EEE-D4C8-6194-8212-DDF251D0D164}"/>
          </ac:spMkLst>
        </pc:spChg>
        <pc:picChg chg="add mod">
          <ac:chgData name="Jithin Thomas" userId="ef6c92be-06f2-4075-bbcf-ed38216b51ac" providerId="ADAL" clId="{237E70BE-1C02-595C-AAD9-EF56B36E7E71}" dt="2025-11-25T10:15:21.681" v="48"/>
          <ac:picMkLst>
            <pc:docMk/>
            <pc:sldMasterMk cId="292190733" sldId="2147485114"/>
            <ac:picMk id="7" creationId="{422F1018-F759-E25C-7CC3-4BA241569273}"/>
          </ac:picMkLst>
        </pc:picChg>
        <pc:picChg chg="add mod">
          <ac:chgData name="Jithin Thomas" userId="ef6c92be-06f2-4075-bbcf-ed38216b51ac" providerId="ADAL" clId="{237E70BE-1C02-595C-AAD9-EF56B36E7E71}" dt="2025-11-25T10:15:21.681" v="48"/>
          <ac:picMkLst>
            <pc:docMk/>
            <pc:sldMasterMk cId="292190733" sldId="2147485114"/>
            <ac:picMk id="8" creationId="{1CB1F4F4-8751-F39A-D498-D585D365986F}"/>
          </ac:picMkLst>
        </pc:picChg>
        <pc:picChg chg="add mod">
          <ac:chgData name="Jithin Thomas" userId="ef6c92be-06f2-4075-bbcf-ed38216b51ac" providerId="ADAL" clId="{237E70BE-1C02-595C-AAD9-EF56B36E7E71}" dt="2025-11-25T10:15:21.681" v="48"/>
          <ac:picMkLst>
            <pc:docMk/>
            <pc:sldMasterMk cId="292190733" sldId="2147485114"/>
            <ac:picMk id="9" creationId="{5EA1EB34-8770-DD24-C730-67FF2F7F3E73}"/>
          </ac:picMkLst>
        </pc:picChg>
        <pc:sldLayoutChg chg="addSp modSp">
          <pc:chgData name="Jithin Thomas" userId="ef6c92be-06f2-4075-bbcf-ed38216b51ac" providerId="ADAL" clId="{237E70BE-1C02-595C-AAD9-EF56B36E7E71}" dt="2025-11-25T10:16:37.287" v="66"/>
          <pc:sldLayoutMkLst>
            <pc:docMk/>
            <pc:sldMasterMk cId="292190733" sldId="2147485114"/>
            <pc:sldLayoutMk cId="2084062545" sldId="2147485120"/>
          </pc:sldLayoutMkLst>
          <pc:picChg chg="add mod">
            <ac:chgData name="Jithin Thomas" userId="ef6c92be-06f2-4075-bbcf-ed38216b51ac" providerId="ADAL" clId="{237E70BE-1C02-595C-AAD9-EF56B36E7E71}" dt="2025-11-25T10:16:37.287" v="66"/>
            <ac:picMkLst>
              <pc:docMk/>
              <pc:sldMasterMk cId="292190733" sldId="2147485114"/>
              <pc:sldLayoutMk cId="2084062545" sldId="2147485120"/>
              <ac:picMk id="5" creationId="{2C4F2B6C-A6F4-CC7C-0FAD-CF582CF083B4}"/>
            </ac:picMkLst>
          </pc:picChg>
        </pc:sldLayoutChg>
        <pc:sldLayoutChg chg="addSp modSp">
          <pc:chgData name="Jithin Thomas" userId="ef6c92be-06f2-4075-bbcf-ed38216b51ac" providerId="ADAL" clId="{237E70BE-1C02-595C-AAD9-EF56B36E7E71}" dt="2025-11-25T10:16:39.116" v="67"/>
          <pc:sldLayoutMkLst>
            <pc:docMk/>
            <pc:sldMasterMk cId="292190733" sldId="2147485114"/>
            <pc:sldLayoutMk cId="3909683101" sldId="2147485121"/>
          </pc:sldLayoutMkLst>
          <pc:picChg chg="add mod">
            <ac:chgData name="Jithin Thomas" userId="ef6c92be-06f2-4075-bbcf-ed38216b51ac" providerId="ADAL" clId="{237E70BE-1C02-595C-AAD9-EF56B36E7E71}" dt="2025-11-25T10:16:39.116" v="67"/>
            <ac:picMkLst>
              <pc:docMk/>
              <pc:sldMasterMk cId="292190733" sldId="2147485114"/>
              <pc:sldLayoutMk cId="3909683101" sldId="2147485121"/>
              <ac:picMk id="5" creationId="{41CA9FD7-B862-59E4-9D7E-F12807E2BD14}"/>
            </ac:picMkLst>
          </pc:picChg>
        </pc:sldLayoutChg>
        <pc:sldLayoutChg chg="addSp delSp modSp mod">
          <pc:chgData name="Jithin Thomas" userId="ef6c92be-06f2-4075-bbcf-ed38216b51ac" providerId="ADAL" clId="{237E70BE-1C02-595C-AAD9-EF56B36E7E71}" dt="2025-11-25T10:15:59.578" v="50"/>
          <pc:sldLayoutMkLst>
            <pc:docMk/>
            <pc:sldMasterMk cId="292190733" sldId="2147485114"/>
            <pc:sldLayoutMk cId="3391227372" sldId="2147485128"/>
          </pc:sldLayoutMkLst>
          <pc:picChg chg="add mod">
            <ac:chgData name="Jithin Thomas" userId="ef6c92be-06f2-4075-bbcf-ed38216b51ac" providerId="ADAL" clId="{237E70BE-1C02-595C-AAD9-EF56B36E7E71}" dt="2025-11-25T10:15:59.578" v="50"/>
            <ac:picMkLst>
              <pc:docMk/>
              <pc:sldMasterMk cId="292190733" sldId="2147485114"/>
              <pc:sldLayoutMk cId="3391227372" sldId="2147485128"/>
              <ac:picMk id="3" creationId="{A555CE8E-F8AC-748F-04FD-187E7A05919E}"/>
            </ac:picMkLst>
          </pc:picChg>
        </pc:sldLayoutChg>
        <pc:sldLayoutChg chg="addSp delSp modSp mod">
          <pc:chgData name="Jithin Thomas" userId="ef6c92be-06f2-4075-bbcf-ed38216b51ac" providerId="ADAL" clId="{237E70BE-1C02-595C-AAD9-EF56B36E7E71}" dt="2025-11-25T10:16:04.815" v="52"/>
          <pc:sldLayoutMkLst>
            <pc:docMk/>
            <pc:sldMasterMk cId="292190733" sldId="2147485114"/>
            <pc:sldLayoutMk cId="3575430893" sldId="2147485129"/>
          </pc:sldLayoutMkLst>
          <pc:picChg chg="add mod">
            <ac:chgData name="Jithin Thomas" userId="ef6c92be-06f2-4075-bbcf-ed38216b51ac" providerId="ADAL" clId="{237E70BE-1C02-595C-AAD9-EF56B36E7E71}" dt="2025-11-25T10:16:04.815" v="52"/>
            <ac:picMkLst>
              <pc:docMk/>
              <pc:sldMasterMk cId="292190733" sldId="2147485114"/>
              <pc:sldLayoutMk cId="3575430893" sldId="2147485129"/>
              <ac:picMk id="7" creationId="{8C532FC9-95E2-7D7E-A7C3-EDB4FEFAC210}"/>
            </ac:picMkLst>
          </pc:picChg>
        </pc:sldLayoutChg>
        <pc:sldLayoutChg chg="addSp delSp modSp mod">
          <pc:chgData name="Jithin Thomas" userId="ef6c92be-06f2-4075-bbcf-ed38216b51ac" providerId="ADAL" clId="{237E70BE-1C02-595C-AAD9-EF56B36E7E71}" dt="2025-11-25T10:16:13.111" v="57"/>
          <pc:sldLayoutMkLst>
            <pc:docMk/>
            <pc:sldMasterMk cId="292190733" sldId="2147485114"/>
            <pc:sldLayoutMk cId="1344099806" sldId="2147485130"/>
          </pc:sldLayoutMkLst>
          <pc:picChg chg="add mod">
            <ac:chgData name="Jithin Thomas" userId="ef6c92be-06f2-4075-bbcf-ed38216b51ac" providerId="ADAL" clId="{237E70BE-1C02-595C-AAD9-EF56B36E7E71}" dt="2025-11-25T10:16:13.111" v="57"/>
            <ac:picMkLst>
              <pc:docMk/>
              <pc:sldMasterMk cId="292190733" sldId="2147485114"/>
              <pc:sldLayoutMk cId="1344099806" sldId="2147485130"/>
              <ac:picMk id="3" creationId="{78C8C218-E85D-B06E-1243-062369D913F2}"/>
            </ac:picMkLst>
          </pc:picChg>
        </pc:sldLayoutChg>
        <pc:sldLayoutChg chg="addSp delSp modSp mod">
          <pc:chgData name="Jithin Thomas" userId="ef6c92be-06f2-4075-bbcf-ed38216b51ac" providerId="ADAL" clId="{237E70BE-1C02-595C-AAD9-EF56B36E7E71}" dt="2025-11-25T10:17:05.146" v="73"/>
          <pc:sldLayoutMkLst>
            <pc:docMk/>
            <pc:sldMasterMk cId="292190733" sldId="2147485114"/>
            <pc:sldLayoutMk cId="4044705538" sldId="2147485134"/>
          </pc:sldLayoutMkLst>
          <pc:picChg chg="add mod">
            <ac:chgData name="Jithin Thomas" userId="ef6c92be-06f2-4075-bbcf-ed38216b51ac" providerId="ADAL" clId="{237E70BE-1C02-595C-AAD9-EF56B36E7E71}" dt="2025-11-25T10:17:05.146" v="73"/>
            <ac:picMkLst>
              <pc:docMk/>
              <pc:sldMasterMk cId="292190733" sldId="2147485114"/>
              <pc:sldLayoutMk cId="4044705538" sldId="2147485134"/>
              <ac:picMk id="7" creationId="{7C8BC37E-7407-77F4-7B3F-D0710401FE7C}"/>
            </ac:picMkLst>
          </pc:picChg>
        </pc:sldLayoutChg>
        <pc:sldLayoutChg chg="addSp delSp modSp mod">
          <pc:chgData name="Jithin Thomas" userId="ef6c92be-06f2-4075-bbcf-ed38216b51ac" providerId="ADAL" clId="{237E70BE-1C02-595C-AAD9-EF56B36E7E71}" dt="2025-11-25T10:17:08.063" v="75"/>
          <pc:sldLayoutMkLst>
            <pc:docMk/>
            <pc:sldMasterMk cId="292190733" sldId="2147485114"/>
            <pc:sldLayoutMk cId="2442001417" sldId="2147485135"/>
          </pc:sldLayoutMkLst>
          <pc:picChg chg="add mod">
            <ac:chgData name="Jithin Thomas" userId="ef6c92be-06f2-4075-bbcf-ed38216b51ac" providerId="ADAL" clId="{237E70BE-1C02-595C-AAD9-EF56B36E7E71}" dt="2025-11-25T10:17:08.063" v="75"/>
            <ac:picMkLst>
              <pc:docMk/>
              <pc:sldMasterMk cId="292190733" sldId="2147485114"/>
              <pc:sldLayoutMk cId="2442001417" sldId="2147485135"/>
              <ac:picMk id="6" creationId="{7AB83968-F3B6-C95A-3516-6735AAE70BD4}"/>
            </ac:picMkLst>
          </pc:picChg>
        </pc:sldLayoutChg>
        <pc:sldLayoutChg chg="addSp modSp">
          <pc:chgData name="Jithin Thomas" userId="ef6c92be-06f2-4075-bbcf-ed38216b51ac" providerId="ADAL" clId="{237E70BE-1C02-595C-AAD9-EF56B36E7E71}" dt="2025-11-25T10:17:11.364" v="76"/>
          <pc:sldLayoutMkLst>
            <pc:docMk/>
            <pc:sldMasterMk cId="292190733" sldId="2147485114"/>
            <pc:sldLayoutMk cId="2736960049" sldId="2147485136"/>
          </pc:sldLayoutMkLst>
          <pc:picChg chg="add mod">
            <ac:chgData name="Jithin Thomas" userId="ef6c92be-06f2-4075-bbcf-ed38216b51ac" providerId="ADAL" clId="{237E70BE-1C02-595C-AAD9-EF56B36E7E71}" dt="2025-11-25T10:17:11.364" v="76"/>
            <ac:picMkLst>
              <pc:docMk/>
              <pc:sldMasterMk cId="292190733" sldId="2147485114"/>
              <pc:sldLayoutMk cId="2736960049" sldId="2147485136"/>
              <ac:picMk id="3" creationId="{224B1A45-00B5-33F6-56EA-159ACC31D238}"/>
            </ac:picMkLst>
          </pc:picChg>
        </pc:sldLayoutChg>
        <pc:sldLayoutChg chg="addSp modSp">
          <pc:chgData name="Jithin Thomas" userId="ef6c92be-06f2-4075-bbcf-ed38216b51ac" providerId="ADAL" clId="{237E70BE-1C02-595C-AAD9-EF56B36E7E71}" dt="2025-11-25T10:17:13.367" v="77"/>
          <pc:sldLayoutMkLst>
            <pc:docMk/>
            <pc:sldMasterMk cId="292190733" sldId="2147485114"/>
            <pc:sldLayoutMk cId="3551409809" sldId="2147485137"/>
          </pc:sldLayoutMkLst>
          <pc:picChg chg="add mod">
            <ac:chgData name="Jithin Thomas" userId="ef6c92be-06f2-4075-bbcf-ed38216b51ac" providerId="ADAL" clId="{237E70BE-1C02-595C-AAD9-EF56B36E7E71}" dt="2025-11-25T10:17:13.367" v="77"/>
            <ac:picMkLst>
              <pc:docMk/>
              <pc:sldMasterMk cId="292190733" sldId="2147485114"/>
              <pc:sldLayoutMk cId="3551409809" sldId="2147485137"/>
              <ac:picMk id="4" creationId="{87E02FD8-87CD-773E-789D-4E401CB51875}"/>
            </ac:picMkLst>
          </pc:picChg>
        </pc:sldLayoutChg>
        <pc:sldLayoutChg chg="addSp delSp modSp mod">
          <pc:chgData name="Jithin Thomas" userId="ef6c92be-06f2-4075-bbcf-ed38216b51ac" providerId="ADAL" clId="{237E70BE-1C02-595C-AAD9-EF56B36E7E71}" dt="2025-11-25T10:16:59.939" v="71"/>
          <pc:sldLayoutMkLst>
            <pc:docMk/>
            <pc:sldMasterMk cId="292190733" sldId="2147485114"/>
            <pc:sldLayoutMk cId="780025126" sldId="2147485138"/>
          </pc:sldLayoutMkLst>
          <pc:picChg chg="add mod">
            <ac:chgData name="Jithin Thomas" userId="ef6c92be-06f2-4075-bbcf-ed38216b51ac" providerId="ADAL" clId="{237E70BE-1C02-595C-AAD9-EF56B36E7E71}" dt="2025-11-25T10:16:59.939" v="71"/>
            <ac:picMkLst>
              <pc:docMk/>
              <pc:sldMasterMk cId="292190733" sldId="2147485114"/>
              <pc:sldLayoutMk cId="780025126" sldId="2147485138"/>
              <ac:picMk id="5" creationId="{18470500-3F47-0A53-C433-AD203BB1F085}"/>
            </ac:picMkLst>
          </pc:picChg>
        </pc:sldLayoutChg>
        <pc:sldLayoutChg chg="addSp delSp modSp mod">
          <pc:chgData name="Jithin Thomas" userId="ef6c92be-06f2-4075-bbcf-ed38216b51ac" providerId="ADAL" clId="{237E70BE-1C02-595C-AAD9-EF56B36E7E71}" dt="2025-11-25T10:16:55.342" v="69"/>
          <pc:sldLayoutMkLst>
            <pc:docMk/>
            <pc:sldMasterMk cId="292190733" sldId="2147485114"/>
            <pc:sldLayoutMk cId="3344048661" sldId="2147485139"/>
          </pc:sldLayoutMkLst>
          <pc:picChg chg="add mod">
            <ac:chgData name="Jithin Thomas" userId="ef6c92be-06f2-4075-bbcf-ed38216b51ac" providerId="ADAL" clId="{237E70BE-1C02-595C-AAD9-EF56B36E7E71}" dt="2025-11-25T10:16:55.342" v="69"/>
            <ac:picMkLst>
              <pc:docMk/>
              <pc:sldMasterMk cId="292190733" sldId="2147485114"/>
              <pc:sldLayoutMk cId="3344048661" sldId="2147485139"/>
              <ac:picMk id="7" creationId="{B62F6BD5-369A-685E-D598-A028C15815F4}"/>
            </ac:picMkLst>
          </pc:picChg>
        </pc:sldLayoutChg>
        <pc:sldLayoutChg chg="addSp modSp">
          <pc:chgData name="Jithin Thomas" userId="ef6c92be-06f2-4075-bbcf-ed38216b51ac" providerId="ADAL" clId="{237E70BE-1C02-595C-AAD9-EF56B36E7E71}" dt="2025-11-25T10:17:24.207" v="82"/>
          <pc:sldLayoutMkLst>
            <pc:docMk/>
            <pc:sldMasterMk cId="292190733" sldId="2147485114"/>
            <pc:sldLayoutMk cId="1640781390" sldId="2147485142"/>
          </pc:sldLayoutMkLst>
          <pc:picChg chg="add mod">
            <ac:chgData name="Jithin Thomas" userId="ef6c92be-06f2-4075-bbcf-ed38216b51ac" providerId="ADAL" clId="{237E70BE-1C02-595C-AAD9-EF56B36E7E71}" dt="2025-11-25T10:17:24.207" v="82"/>
            <ac:picMkLst>
              <pc:docMk/>
              <pc:sldMasterMk cId="292190733" sldId="2147485114"/>
              <pc:sldLayoutMk cId="1640781390" sldId="2147485142"/>
              <ac:picMk id="2" creationId="{79DDCA5D-ACE8-95A5-ABA9-9B1457058DF9}"/>
            </ac:picMkLst>
          </pc:picChg>
        </pc:sldLayoutChg>
        <pc:sldLayoutChg chg="addSp modSp">
          <pc:chgData name="Jithin Thomas" userId="ef6c92be-06f2-4075-bbcf-ed38216b51ac" providerId="ADAL" clId="{237E70BE-1C02-595C-AAD9-EF56B36E7E71}" dt="2025-11-25T10:17:25.786" v="83"/>
          <pc:sldLayoutMkLst>
            <pc:docMk/>
            <pc:sldMasterMk cId="292190733" sldId="2147485114"/>
            <pc:sldLayoutMk cId="506630739" sldId="2147485143"/>
          </pc:sldLayoutMkLst>
          <pc:picChg chg="add mod">
            <ac:chgData name="Jithin Thomas" userId="ef6c92be-06f2-4075-bbcf-ed38216b51ac" providerId="ADAL" clId="{237E70BE-1C02-595C-AAD9-EF56B36E7E71}" dt="2025-11-25T10:17:25.786" v="83"/>
            <ac:picMkLst>
              <pc:docMk/>
              <pc:sldMasterMk cId="292190733" sldId="2147485114"/>
              <pc:sldLayoutMk cId="506630739" sldId="2147485143"/>
              <ac:picMk id="8" creationId="{F48495F4-3C16-AD2F-8282-CB31EB3BD00A}"/>
            </ac:picMkLst>
          </pc:picChg>
        </pc:sldLayoutChg>
        <pc:sldLayoutChg chg="addSp modSp">
          <pc:chgData name="Jithin Thomas" userId="ef6c92be-06f2-4075-bbcf-ed38216b51ac" providerId="ADAL" clId="{237E70BE-1C02-595C-AAD9-EF56B36E7E71}" dt="2025-11-25T10:17:30.238" v="85"/>
          <pc:sldLayoutMkLst>
            <pc:docMk/>
            <pc:sldMasterMk cId="292190733" sldId="2147485114"/>
            <pc:sldLayoutMk cId="2211110515" sldId="2147485145"/>
          </pc:sldLayoutMkLst>
          <pc:picChg chg="add mod">
            <ac:chgData name="Jithin Thomas" userId="ef6c92be-06f2-4075-bbcf-ed38216b51ac" providerId="ADAL" clId="{237E70BE-1C02-595C-AAD9-EF56B36E7E71}" dt="2025-11-25T10:17:30.238" v="85"/>
            <ac:picMkLst>
              <pc:docMk/>
              <pc:sldMasterMk cId="292190733" sldId="2147485114"/>
              <pc:sldLayoutMk cId="2211110515" sldId="2147485145"/>
              <ac:picMk id="8" creationId="{42F932EE-8CFC-9AF0-6EF5-763943CD00E6}"/>
            </ac:picMkLst>
          </pc:picChg>
        </pc:sldLayoutChg>
        <pc:sldLayoutChg chg="addSp modSp">
          <pc:chgData name="Jithin Thomas" userId="ef6c92be-06f2-4075-bbcf-ed38216b51ac" providerId="ADAL" clId="{237E70BE-1C02-595C-AAD9-EF56B36E7E71}" dt="2025-11-25T10:17:31.771" v="86"/>
          <pc:sldLayoutMkLst>
            <pc:docMk/>
            <pc:sldMasterMk cId="292190733" sldId="2147485114"/>
            <pc:sldLayoutMk cId="3309986538" sldId="2147485146"/>
          </pc:sldLayoutMkLst>
          <pc:picChg chg="add mod">
            <ac:chgData name="Jithin Thomas" userId="ef6c92be-06f2-4075-bbcf-ed38216b51ac" providerId="ADAL" clId="{237E70BE-1C02-595C-AAD9-EF56B36E7E71}" dt="2025-11-25T10:17:31.771" v="86"/>
            <ac:picMkLst>
              <pc:docMk/>
              <pc:sldMasterMk cId="292190733" sldId="2147485114"/>
              <pc:sldLayoutMk cId="3309986538" sldId="2147485146"/>
              <ac:picMk id="7" creationId="{1B06A753-964F-D78A-690F-717DD6CC6AD5}"/>
            </ac:picMkLst>
          </pc:picChg>
        </pc:sldLayoutChg>
        <pc:sldLayoutChg chg="addSp modSp">
          <pc:chgData name="Jithin Thomas" userId="ef6c92be-06f2-4075-bbcf-ed38216b51ac" providerId="ADAL" clId="{237E70BE-1C02-595C-AAD9-EF56B36E7E71}" dt="2025-11-25T10:17:27.340" v="84"/>
          <pc:sldLayoutMkLst>
            <pc:docMk/>
            <pc:sldMasterMk cId="292190733" sldId="2147485114"/>
            <pc:sldLayoutMk cId="522730705" sldId="2147485147"/>
          </pc:sldLayoutMkLst>
          <pc:picChg chg="add mod">
            <ac:chgData name="Jithin Thomas" userId="ef6c92be-06f2-4075-bbcf-ed38216b51ac" providerId="ADAL" clId="{237E70BE-1C02-595C-AAD9-EF56B36E7E71}" dt="2025-11-25T10:17:27.340" v="84"/>
            <ac:picMkLst>
              <pc:docMk/>
              <pc:sldMasterMk cId="292190733" sldId="2147485114"/>
              <pc:sldLayoutMk cId="522730705" sldId="2147485147"/>
              <ac:picMk id="2" creationId="{B1D91FC7-A7C8-7599-4BA1-938FB290C905}"/>
            </ac:picMkLst>
          </pc:picChg>
        </pc:sldLayoutChg>
        <pc:sldLayoutChg chg="addSp modSp">
          <pc:chgData name="Jithin Thomas" userId="ef6c92be-06f2-4075-bbcf-ed38216b51ac" providerId="ADAL" clId="{237E70BE-1C02-595C-AAD9-EF56B36E7E71}" dt="2025-11-25T10:17:33.544" v="87"/>
          <pc:sldLayoutMkLst>
            <pc:docMk/>
            <pc:sldMasterMk cId="292190733" sldId="2147485114"/>
            <pc:sldLayoutMk cId="1736838461" sldId="2147485148"/>
          </pc:sldLayoutMkLst>
          <pc:picChg chg="add mod">
            <ac:chgData name="Jithin Thomas" userId="ef6c92be-06f2-4075-bbcf-ed38216b51ac" providerId="ADAL" clId="{237E70BE-1C02-595C-AAD9-EF56B36E7E71}" dt="2025-11-25T10:17:33.544" v="87"/>
            <ac:picMkLst>
              <pc:docMk/>
              <pc:sldMasterMk cId="292190733" sldId="2147485114"/>
              <pc:sldLayoutMk cId="1736838461" sldId="2147485148"/>
              <ac:picMk id="6" creationId="{00504EC5-CFCC-8319-065C-7BD52DF56C78}"/>
            </ac:picMkLst>
          </pc:picChg>
        </pc:sldLayoutChg>
        <pc:sldLayoutChg chg="addSp modSp">
          <pc:chgData name="Jithin Thomas" userId="ef6c92be-06f2-4075-bbcf-ed38216b51ac" providerId="ADAL" clId="{237E70BE-1C02-595C-AAD9-EF56B36E7E71}" dt="2025-11-25T10:17:34.810" v="88"/>
          <pc:sldLayoutMkLst>
            <pc:docMk/>
            <pc:sldMasterMk cId="292190733" sldId="2147485114"/>
            <pc:sldLayoutMk cId="3184834303" sldId="2147485149"/>
          </pc:sldLayoutMkLst>
          <pc:picChg chg="add mod">
            <ac:chgData name="Jithin Thomas" userId="ef6c92be-06f2-4075-bbcf-ed38216b51ac" providerId="ADAL" clId="{237E70BE-1C02-595C-AAD9-EF56B36E7E71}" dt="2025-11-25T10:17:34.810" v="88"/>
            <ac:picMkLst>
              <pc:docMk/>
              <pc:sldMasterMk cId="292190733" sldId="2147485114"/>
              <pc:sldLayoutMk cId="3184834303" sldId="2147485149"/>
              <ac:picMk id="7" creationId="{AEC6EDDD-5A0A-F108-140C-A3F0DFEF3F66}"/>
            </ac:picMkLst>
          </pc:picChg>
        </pc:sldLayoutChg>
        <pc:sldLayoutChg chg="addSp modSp">
          <pc:chgData name="Jithin Thomas" userId="ef6c92be-06f2-4075-bbcf-ed38216b51ac" providerId="ADAL" clId="{237E70BE-1C02-595C-AAD9-EF56B36E7E71}" dt="2025-11-25T10:17:36.085" v="89"/>
          <pc:sldLayoutMkLst>
            <pc:docMk/>
            <pc:sldMasterMk cId="292190733" sldId="2147485114"/>
            <pc:sldLayoutMk cId="1970069501" sldId="2147485150"/>
          </pc:sldLayoutMkLst>
          <pc:picChg chg="add mod">
            <ac:chgData name="Jithin Thomas" userId="ef6c92be-06f2-4075-bbcf-ed38216b51ac" providerId="ADAL" clId="{237E70BE-1C02-595C-AAD9-EF56B36E7E71}" dt="2025-11-25T10:17:36.085" v="89"/>
            <ac:picMkLst>
              <pc:docMk/>
              <pc:sldMasterMk cId="292190733" sldId="2147485114"/>
              <pc:sldLayoutMk cId="1970069501" sldId="2147485150"/>
              <ac:picMk id="7" creationId="{9DD9AB2D-D338-9A7A-8B24-CACF0988D5B7}"/>
            </ac:picMkLst>
          </pc:picChg>
        </pc:sldLayoutChg>
        <pc:sldLayoutChg chg="addSp modSp">
          <pc:chgData name="Jithin Thomas" userId="ef6c92be-06f2-4075-bbcf-ed38216b51ac" providerId="ADAL" clId="{237E70BE-1C02-595C-AAD9-EF56B36E7E71}" dt="2025-11-25T10:17:37.379" v="90"/>
          <pc:sldLayoutMkLst>
            <pc:docMk/>
            <pc:sldMasterMk cId="292190733" sldId="2147485114"/>
            <pc:sldLayoutMk cId="3857612547" sldId="2147485151"/>
          </pc:sldLayoutMkLst>
          <pc:picChg chg="add mod">
            <ac:chgData name="Jithin Thomas" userId="ef6c92be-06f2-4075-bbcf-ed38216b51ac" providerId="ADAL" clId="{237E70BE-1C02-595C-AAD9-EF56B36E7E71}" dt="2025-11-25T10:17:37.379" v="90"/>
            <ac:picMkLst>
              <pc:docMk/>
              <pc:sldMasterMk cId="292190733" sldId="2147485114"/>
              <pc:sldLayoutMk cId="3857612547" sldId="2147485151"/>
              <ac:picMk id="7" creationId="{30CE8652-9224-AAE8-1647-AB59524CF1B9}"/>
            </ac:picMkLst>
          </pc:picChg>
        </pc:sldLayoutChg>
        <pc:sldLayoutChg chg="addSp modSp">
          <pc:chgData name="Jithin Thomas" userId="ef6c92be-06f2-4075-bbcf-ed38216b51ac" providerId="ADAL" clId="{237E70BE-1C02-595C-AAD9-EF56B36E7E71}" dt="2025-11-25T10:17:39.958" v="91"/>
          <pc:sldLayoutMkLst>
            <pc:docMk/>
            <pc:sldMasterMk cId="292190733" sldId="2147485114"/>
            <pc:sldLayoutMk cId="2799772508" sldId="2147485152"/>
          </pc:sldLayoutMkLst>
          <pc:picChg chg="add mod">
            <ac:chgData name="Jithin Thomas" userId="ef6c92be-06f2-4075-bbcf-ed38216b51ac" providerId="ADAL" clId="{237E70BE-1C02-595C-AAD9-EF56B36E7E71}" dt="2025-11-25T10:17:39.958" v="91"/>
            <ac:picMkLst>
              <pc:docMk/>
              <pc:sldMasterMk cId="292190733" sldId="2147485114"/>
              <pc:sldLayoutMk cId="2799772508" sldId="2147485152"/>
              <ac:picMk id="4" creationId="{EE28CB86-B5C0-6BE5-2AEA-787CBDB78B4F}"/>
            </ac:picMkLst>
          </pc:picChg>
        </pc:sldLayoutChg>
        <pc:sldLayoutChg chg="addSp delSp modSp mod">
          <pc:chgData name="Jithin Thomas" userId="ef6c92be-06f2-4075-bbcf-ed38216b51ac" providerId="ADAL" clId="{237E70BE-1C02-595C-AAD9-EF56B36E7E71}" dt="2025-11-25T10:16:09.318" v="55"/>
          <pc:sldLayoutMkLst>
            <pc:docMk/>
            <pc:sldMasterMk cId="292190733" sldId="2147485114"/>
            <pc:sldLayoutMk cId="2696657948" sldId="2147485159"/>
          </pc:sldLayoutMkLst>
          <pc:picChg chg="add mod">
            <ac:chgData name="Jithin Thomas" userId="ef6c92be-06f2-4075-bbcf-ed38216b51ac" providerId="ADAL" clId="{237E70BE-1C02-595C-AAD9-EF56B36E7E71}" dt="2025-11-25T10:16:09.318" v="55"/>
            <ac:picMkLst>
              <pc:docMk/>
              <pc:sldMasterMk cId="292190733" sldId="2147485114"/>
              <pc:sldLayoutMk cId="2696657948" sldId="2147485159"/>
              <ac:picMk id="7" creationId="{184A3DF6-4D07-391D-F120-F527E15B248A}"/>
            </ac:picMkLst>
          </pc:picChg>
        </pc:sldLayoutChg>
        <pc:sldLayoutChg chg="addSp delSp modSp mod">
          <pc:chgData name="Jithin Thomas" userId="ef6c92be-06f2-4075-bbcf-ed38216b51ac" providerId="ADAL" clId="{237E70BE-1C02-595C-AAD9-EF56B36E7E71}" dt="2025-11-25T10:16:17.093" v="59"/>
          <pc:sldLayoutMkLst>
            <pc:docMk/>
            <pc:sldMasterMk cId="292190733" sldId="2147485114"/>
            <pc:sldLayoutMk cId="3012757792" sldId="2147485160"/>
          </pc:sldLayoutMkLst>
          <pc:picChg chg="add mod">
            <ac:chgData name="Jithin Thomas" userId="ef6c92be-06f2-4075-bbcf-ed38216b51ac" providerId="ADAL" clId="{237E70BE-1C02-595C-AAD9-EF56B36E7E71}" dt="2025-11-25T10:16:17.093" v="59"/>
            <ac:picMkLst>
              <pc:docMk/>
              <pc:sldMasterMk cId="292190733" sldId="2147485114"/>
              <pc:sldLayoutMk cId="3012757792" sldId="2147485160"/>
              <ac:picMk id="4" creationId="{0BDE19CE-230C-CB13-1694-83AD77DDB015}"/>
            </ac:picMkLst>
          </pc:picChg>
        </pc:sldLayoutChg>
        <pc:sldLayoutChg chg="addSp delSp modSp mod">
          <pc:chgData name="Jithin Thomas" userId="ef6c92be-06f2-4075-bbcf-ed38216b51ac" providerId="ADAL" clId="{237E70BE-1C02-595C-AAD9-EF56B36E7E71}" dt="2025-11-25T10:17:59.638" v="92" actId="478"/>
          <pc:sldLayoutMkLst>
            <pc:docMk/>
            <pc:sldMasterMk cId="292190733" sldId="2147485114"/>
            <pc:sldLayoutMk cId="2264560875" sldId="2147485173"/>
          </pc:sldLayoutMkLst>
        </pc:sldLayoutChg>
        <pc:sldLayoutChg chg="addSp delSp modSp mod">
          <pc:chgData name="Jithin Thomas" userId="ef6c92be-06f2-4075-bbcf-ed38216b51ac" providerId="ADAL" clId="{237E70BE-1C02-595C-AAD9-EF56B36E7E71}" dt="2025-11-25T10:17:20.185" v="81"/>
          <pc:sldLayoutMkLst>
            <pc:docMk/>
            <pc:sldMasterMk cId="292190733" sldId="2147485114"/>
            <pc:sldLayoutMk cId="567721291" sldId="2147485177"/>
          </pc:sldLayoutMkLst>
          <pc:picChg chg="add mod">
            <ac:chgData name="Jithin Thomas" userId="ef6c92be-06f2-4075-bbcf-ed38216b51ac" providerId="ADAL" clId="{237E70BE-1C02-595C-AAD9-EF56B36E7E71}" dt="2025-11-25T10:17:20.185" v="81"/>
            <ac:picMkLst>
              <pc:docMk/>
              <pc:sldMasterMk cId="292190733" sldId="2147485114"/>
              <pc:sldLayoutMk cId="567721291" sldId="2147485177"/>
              <ac:picMk id="8" creationId="{2526CA0C-4135-ED7E-3E40-1A342AA09A76}"/>
            </ac:picMkLst>
          </pc:picChg>
        </pc:sldLayoutChg>
        <pc:sldLayoutChg chg="addSp delSp modSp mod">
          <pc:chgData name="Jithin Thomas" userId="ef6c92be-06f2-4075-bbcf-ed38216b51ac" providerId="ADAL" clId="{237E70BE-1C02-595C-AAD9-EF56B36E7E71}" dt="2025-11-25T10:16:23.399" v="61"/>
          <pc:sldLayoutMkLst>
            <pc:docMk/>
            <pc:sldMasterMk cId="292190733" sldId="2147485114"/>
            <pc:sldLayoutMk cId="2857602153" sldId="2147485235"/>
          </pc:sldLayoutMkLst>
          <pc:picChg chg="add mod">
            <ac:chgData name="Jithin Thomas" userId="ef6c92be-06f2-4075-bbcf-ed38216b51ac" providerId="ADAL" clId="{237E70BE-1C02-595C-AAD9-EF56B36E7E71}" dt="2025-11-25T10:16:23.399" v="61"/>
            <ac:picMkLst>
              <pc:docMk/>
              <pc:sldMasterMk cId="292190733" sldId="2147485114"/>
              <pc:sldLayoutMk cId="2857602153" sldId="2147485235"/>
              <ac:picMk id="7" creationId="{622590DA-7447-52D3-5B8C-46F85B60C579}"/>
            </ac:picMkLst>
          </pc:picChg>
        </pc:sldLayoutChg>
        <pc:sldLayoutChg chg="addSp delSp modSp mod">
          <pc:chgData name="Jithin Thomas" userId="ef6c92be-06f2-4075-bbcf-ed38216b51ac" providerId="ADAL" clId="{237E70BE-1C02-595C-AAD9-EF56B36E7E71}" dt="2025-11-25T10:16:27.005" v="63"/>
          <pc:sldLayoutMkLst>
            <pc:docMk/>
            <pc:sldMasterMk cId="292190733" sldId="2147485114"/>
            <pc:sldLayoutMk cId="1347682793" sldId="2147485236"/>
          </pc:sldLayoutMkLst>
          <pc:picChg chg="add mod">
            <ac:chgData name="Jithin Thomas" userId="ef6c92be-06f2-4075-bbcf-ed38216b51ac" providerId="ADAL" clId="{237E70BE-1C02-595C-AAD9-EF56B36E7E71}" dt="2025-11-25T10:16:27.005" v="63"/>
            <ac:picMkLst>
              <pc:docMk/>
              <pc:sldMasterMk cId="292190733" sldId="2147485114"/>
              <pc:sldLayoutMk cId="1347682793" sldId="2147485236"/>
              <ac:picMk id="7" creationId="{9D8571A2-7E94-0D20-13D0-5D8B318B59F7}"/>
            </ac:picMkLst>
          </pc:picChg>
        </pc:sldLayoutChg>
        <pc:sldLayoutChg chg="addSp delSp modSp mod">
          <pc:chgData name="Jithin Thomas" userId="ef6c92be-06f2-4075-bbcf-ed38216b51ac" providerId="ADAL" clId="{237E70BE-1C02-595C-AAD9-EF56B36E7E71}" dt="2025-11-25T10:16:30.444" v="65"/>
          <pc:sldLayoutMkLst>
            <pc:docMk/>
            <pc:sldMasterMk cId="292190733" sldId="2147485114"/>
            <pc:sldLayoutMk cId="639254312" sldId="2147485237"/>
          </pc:sldLayoutMkLst>
          <pc:picChg chg="add mod">
            <ac:chgData name="Jithin Thomas" userId="ef6c92be-06f2-4075-bbcf-ed38216b51ac" providerId="ADAL" clId="{237E70BE-1C02-595C-AAD9-EF56B36E7E71}" dt="2025-11-25T10:16:30.444" v="65"/>
            <ac:picMkLst>
              <pc:docMk/>
              <pc:sldMasterMk cId="292190733" sldId="2147485114"/>
              <pc:sldLayoutMk cId="639254312" sldId="2147485237"/>
              <ac:picMk id="17" creationId="{9F5639F8-C7E8-9F0E-3FCC-BAE6C60AAAC9}"/>
            </ac:picMkLst>
          </pc:picChg>
        </pc:sldLayoutChg>
      </pc:sldMasterChg>
    </pc:docChg>
  </pc:docChgLst>
  <pc:docChgLst>
    <pc:chgData name="Theresa Keeney" userId="S::theresa.keeney@servicenow.com::4745ffe2-4b50-4acb-8649-29e2f3009cae" providerId="AD" clId="Web-{3C1B455F-708F-C105-E731-3829BA58BB0B}"/>
    <pc:docChg chg="addSld modSld modSection">
      <pc:chgData name="Theresa Keeney" userId="S::theresa.keeney@servicenow.com::4745ffe2-4b50-4acb-8649-29e2f3009cae" providerId="AD" clId="Web-{3C1B455F-708F-C105-E731-3829BA58BB0B}" dt="2025-11-20T17:50:13.569" v="416" actId="20577"/>
      <pc:docMkLst>
        <pc:docMk/>
      </pc:docMkLst>
      <pc:sldChg chg="modSp add replId modNotes">
        <pc:chgData name="Theresa Keeney" userId="S::theresa.keeney@servicenow.com::4745ffe2-4b50-4acb-8649-29e2f3009cae" providerId="AD" clId="Web-{3C1B455F-708F-C105-E731-3829BA58BB0B}" dt="2025-11-20T17:44:10.256" v="303" actId="20577"/>
        <pc:sldMkLst>
          <pc:docMk/>
          <pc:sldMk cId="817628832" sldId="258"/>
        </pc:sldMkLst>
        <pc:spChg chg="mod">
          <ac:chgData name="Theresa Keeney" userId="S::theresa.keeney@servicenow.com::4745ffe2-4b50-4acb-8649-29e2f3009cae" providerId="AD" clId="Web-{3C1B455F-708F-C105-E731-3829BA58BB0B}" dt="2025-11-20T17:44:10.256" v="303" actId="20577"/>
          <ac:spMkLst>
            <pc:docMk/>
            <pc:sldMk cId="817628832" sldId="258"/>
            <ac:spMk id="12" creationId="{1D8B60CC-C38A-81B2-8B71-9EB58A9D0CAF}"/>
          </ac:spMkLst>
        </pc:spChg>
      </pc:sldChg>
      <pc:sldChg chg="modSp modNotes">
        <pc:chgData name="Theresa Keeney" userId="S::theresa.keeney@servicenow.com::4745ffe2-4b50-4acb-8649-29e2f3009cae" providerId="AD" clId="Web-{3C1B455F-708F-C105-E731-3829BA58BB0B}" dt="2025-11-20T17:36:45.896" v="142" actId="20577"/>
        <pc:sldMkLst>
          <pc:docMk/>
          <pc:sldMk cId="533090875" sldId="270"/>
        </pc:sldMkLst>
      </pc:sldChg>
      <pc:sldChg chg="modNotes">
        <pc:chgData name="Theresa Keeney" userId="S::theresa.keeney@servicenow.com::4745ffe2-4b50-4acb-8649-29e2f3009cae" providerId="AD" clId="Web-{3C1B455F-708F-C105-E731-3829BA58BB0B}" dt="2025-11-20T17:36:00.568" v="126"/>
        <pc:sldMkLst>
          <pc:docMk/>
          <pc:sldMk cId="262715862" sldId="276"/>
        </pc:sldMkLst>
      </pc:sldChg>
      <pc:sldChg chg="modSp">
        <pc:chgData name="Theresa Keeney" userId="S::theresa.keeney@servicenow.com::4745ffe2-4b50-4acb-8649-29e2f3009cae" providerId="AD" clId="Web-{3C1B455F-708F-C105-E731-3829BA58BB0B}" dt="2025-11-20T17:50:13.569" v="416" actId="20577"/>
        <pc:sldMkLst>
          <pc:docMk/>
          <pc:sldMk cId="1077920806" sldId="319"/>
        </pc:sldMkLst>
        <pc:spChg chg="mod">
          <ac:chgData name="Theresa Keeney" userId="S::theresa.keeney@servicenow.com::4745ffe2-4b50-4acb-8649-29e2f3009cae" providerId="AD" clId="Web-{3C1B455F-708F-C105-E731-3829BA58BB0B}" dt="2025-11-20T17:50:13.569" v="416" actId="20577"/>
          <ac:spMkLst>
            <pc:docMk/>
            <pc:sldMk cId="1077920806" sldId="319"/>
            <ac:spMk id="12" creationId="{AB7962C2-950D-51BB-5172-09506DA32EE2}"/>
          </ac:spMkLst>
        </pc:spChg>
        <pc:picChg chg="mod">
          <ac:chgData name="Theresa Keeney" userId="S::theresa.keeney@servicenow.com::4745ffe2-4b50-4acb-8649-29e2f3009cae" providerId="AD" clId="Web-{3C1B455F-708F-C105-E731-3829BA58BB0B}" dt="2025-11-20T17:47:39.147" v="338" actId="1076"/>
          <ac:picMkLst>
            <pc:docMk/>
            <pc:sldMk cId="1077920806" sldId="319"/>
            <ac:picMk id="2" creationId="{9A0223C2-A048-217C-018E-A32ABAB89D21}"/>
          </ac:picMkLst>
        </pc:picChg>
      </pc:sldChg>
      <pc:sldChg chg="modSp">
        <pc:chgData name="Theresa Keeney" userId="S::theresa.keeney@servicenow.com::4745ffe2-4b50-4acb-8649-29e2f3009cae" providerId="AD" clId="Web-{3C1B455F-708F-C105-E731-3829BA58BB0B}" dt="2025-11-20T17:29:47.849" v="52" actId="20577"/>
        <pc:sldMkLst>
          <pc:docMk/>
          <pc:sldMk cId="2544729286" sldId="330"/>
        </pc:sldMkLst>
        <pc:spChg chg="mod">
          <ac:chgData name="Theresa Keeney" userId="S::theresa.keeney@servicenow.com::4745ffe2-4b50-4acb-8649-29e2f3009cae" providerId="AD" clId="Web-{3C1B455F-708F-C105-E731-3829BA58BB0B}" dt="2025-11-20T17:29:47.849" v="52" actId="20577"/>
          <ac:spMkLst>
            <pc:docMk/>
            <pc:sldMk cId="2544729286" sldId="330"/>
            <ac:spMk id="4" creationId="{3E44205A-4C7E-64E0-C209-4CB332A43D8F}"/>
          </ac:spMkLst>
        </pc:spChg>
      </pc:sldChg>
      <pc:sldChg chg="addSp delSp modNotes">
        <pc:chgData name="Theresa Keeney" userId="S::theresa.keeney@servicenow.com::4745ffe2-4b50-4acb-8649-29e2f3009cae" providerId="AD" clId="Web-{3C1B455F-708F-C105-E731-3829BA58BB0B}" dt="2025-11-20T17:43:28.131" v="208"/>
        <pc:sldMkLst>
          <pc:docMk/>
          <pc:sldMk cId="1179839465" sldId="334"/>
        </pc:sldMkLst>
        <pc:picChg chg="add">
          <ac:chgData name="Theresa Keeney" userId="S::theresa.keeney@servicenow.com::4745ffe2-4b50-4acb-8649-29e2f3009cae" providerId="AD" clId="Web-{3C1B455F-708F-C105-E731-3829BA58BB0B}" dt="2025-11-20T17:38:11.006" v="145"/>
          <ac:picMkLst>
            <pc:docMk/>
            <pc:sldMk cId="1179839465" sldId="334"/>
            <ac:picMk id="5" creationId="{72DC0047-070B-0639-2535-61D4033E87CE}"/>
          </ac:picMkLst>
        </pc:picChg>
      </pc:sldChg>
      <pc:sldChg chg="modSp">
        <pc:chgData name="Theresa Keeney" userId="S::theresa.keeney@servicenow.com::4745ffe2-4b50-4acb-8649-29e2f3009cae" providerId="AD" clId="Web-{3C1B455F-708F-C105-E731-3829BA58BB0B}" dt="2025-11-20T17:33:03.256" v="59" actId="20577"/>
        <pc:sldMkLst>
          <pc:docMk/>
          <pc:sldMk cId="1222995992" sldId="2147483646"/>
        </pc:sldMkLst>
        <pc:spChg chg="mod">
          <ac:chgData name="Theresa Keeney" userId="S::theresa.keeney@servicenow.com::4745ffe2-4b50-4acb-8649-29e2f3009cae" providerId="AD" clId="Web-{3C1B455F-708F-C105-E731-3829BA58BB0B}" dt="2025-11-20T17:33:03.256" v="59" actId="20577"/>
          <ac:spMkLst>
            <pc:docMk/>
            <pc:sldMk cId="1222995992" sldId="2147483646"/>
            <ac:spMk id="4" creationId="{56AA968D-7346-67AC-711F-9CD20A9E95D5}"/>
          </ac:spMkLst>
        </pc:spChg>
      </pc:sldChg>
      <pc:sldChg chg="modSp add replId">
        <pc:chgData name="Theresa Keeney" userId="S::theresa.keeney@servicenow.com::4745ffe2-4b50-4acb-8649-29e2f3009cae" providerId="AD" clId="Web-{3C1B455F-708F-C105-E731-3829BA58BB0B}" dt="2025-11-20T17:30:38.255" v="54" actId="20577"/>
        <pc:sldMkLst>
          <pc:docMk/>
          <pc:sldMk cId="3749642113" sldId="2147483647"/>
        </pc:sldMkLst>
        <pc:spChg chg="mod">
          <ac:chgData name="Theresa Keeney" userId="S::theresa.keeney@servicenow.com::4745ffe2-4b50-4acb-8649-29e2f3009cae" providerId="AD" clId="Web-{3C1B455F-708F-C105-E731-3829BA58BB0B}" dt="2025-11-20T17:24:13.083" v="4" actId="20577"/>
          <ac:spMkLst>
            <pc:docMk/>
            <pc:sldMk cId="3749642113" sldId="2147483647"/>
            <ac:spMk id="2" creationId="{E21A0FC7-DA24-80CF-6752-4B58F97A73CF}"/>
          </ac:spMkLst>
        </pc:spChg>
        <pc:spChg chg="mod">
          <ac:chgData name="Theresa Keeney" userId="S::theresa.keeney@servicenow.com::4745ffe2-4b50-4acb-8649-29e2f3009cae" providerId="AD" clId="Web-{3C1B455F-708F-C105-E731-3829BA58BB0B}" dt="2025-11-20T17:30:38.255" v="54" actId="20577"/>
          <ac:spMkLst>
            <pc:docMk/>
            <pc:sldMk cId="3749642113" sldId="2147483647"/>
            <ac:spMk id="4" creationId="{87AA066A-3271-50C5-1A6B-3DEBDC9A214D}"/>
          </ac:spMkLst>
        </pc:spChg>
      </pc:sldChg>
    </pc:docChg>
  </pc:docChgLst>
  <pc:docChgLst>
    <pc:chgData name="Jithin Thomas" userId="S::jithin.thomas@servicenow.com::ef6c92be-06f2-4075-bbcf-ed38216b51ac" providerId="AD" clId="Web-{26D6FC9E-88BE-D40C-EC62-EDF5B59C2380}"/>
    <pc:docChg chg="modSld">
      <pc:chgData name="Jithin Thomas" userId="S::jithin.thomas@servicenow.com::ef6c92be-06f2-4075-bbcf-ed38216b51ac" providerId="AD" clId="Web-{26D6FC9E-88BE-D40C-EC62-EDF5B59C2380}" dt="2025-11-25T12:23:00.918" v="0" actId="20577"/>
      <pc:docMkLst>
        <pc:docMk/>
      </pc:docMkLst>
      <pc:sldChg chg="modSp">
        <pc:chgData name="Jithin Thomas" userId="S::jithin.thomas@servicenow.com::ef6c92be-06f2-4075-bbcf-ed38216b51ac" providerId="AD" clId="Web-{26D6FC9E-88BE-D40C-EC62-EDF5B59C2380}" dt="2025-11-25T12:23:00.918" v="0" actId="20577"/>
        <pc:sldMkLst>
          <pc:docMk/>
          <pc:sldMk cId="4108582609" sldId="2147471292"/>
        </pc:sldMkLst>
        <pc:spChg chg="mod">
          <ac:chgData name="Jithin Thomas" userId="S::jithin.thomas@servicenow.com::ef6c92be-06f2-4075-bbcf-ed38216b51ac" providerId="AD" clId="Web-{26D6FC9E-88BE-D40C-EC62-EDF5B59C2380}" dt="2025-11-25T12:23:00.918" v="0" actId="20577"/>
          <ac:spMkLst>
            <pc:docMk/>
            <pc:sldMk cId="4108582609" sldId="2147471292"/>
            <ac:spMk id="13" creationId="{231D2017-DF80-E7F5-BCB6-8BB734D700AD}"/>
          </ac:spMkLst>
        </pc:spChg>
      </pc:sldChg>
    </pc:docChg>
  </pc:docChgLst>
</pc:chgInfo>
</file>

<file path=ppt/comments/modernComment_12A_4816E1CA.xml><?xml version="1.0" encoding="utf-8"?>
<p188:cmLst xmlns:a="http://schemas.openxmlformats.org/drawingml/2006/main" xmlns:r="http://schemas.openxmlformats.org/officeDocument/2006/relationships" xmlns:p188="http://schemas.microsoft.com/office/powerpoint/2018/8/main">
  <p188:cm id="{BA94D83E-0F21-AA4B-8A2A-07CE5A160962}" authorId="{5E33089F-E8A6-24C1-54EA-992C334D8A71}" status="resolved" created="2025-10-27T19:37:01.447" complete="100000">
    <pc:sldMkLst xmlns:pc="http://schemas.microsoft.com/office/powerpoint/2013/main/command">
      <pc:docMk/>
      <pc:sldMk cId="1209459146" sldId="298"/>
    </pc:sldMkLst>
    <p188:replyLst>
      <p188:reply id="{124FD64A-FD55-1549-BEAA-6F6D87BBA3E9}" authorId="{BBD5FAFC-D06D-EECF-FAE5-678610424275}" created="2025-11-25T12:12:33.777">
        <p188:txBody>
          <a:bodyPr/>
          <a:lstStyle/>
          <a:p>
            <a:r>
              <a:rPr lang="en-US"/>
              <a:t>Newer version is not created. However, I have added Best Practices Portal instead of Now Create</a:t>
            </a:r>
          </a:p>
        </p188:txBody>
      </p188:reply>
    </p188:replyLst>
    <p188:txBody>
      <a:bodyPr/>
      <a:lstStyle/>
      <a:p>
        <a:r>
          <a:rPr lang="en-US"/>
          <a:t>[@Jithin Thomas] Was there a newer version of this slide that we created recently? I got this from the Growth Experiences deck</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25770"/>
            <a:ext cx="3037840" cy="461804"/>
          </a:xfrm>
          <a:prstGeom prst="rect">
            <a:avLst/>
          </a:prstGeom>
        </p:spPr>
        <p:txBody>
          <a:bodyPr vert="horz" lIns="93387" tIns="46695" rIns="93387" bIns="46695" rtlCol="0"/>
          <a:lstStyle>
            <a:lvl1pPr algn="l">
              <a:defRPr sz="1200"/>
            </a:lvl1pPr>
          </a:lstStyle>
          <a:p>
            <a:endParaRPr lang="en-US" b="1" dirty="0">
              <a:latin typeface="ServiceNow Sans" panose="020B0504040101010104" pitchFamily="34" charset="0"/>
            </a:endParaRPr>
          </a:p>
        </p:txBody>
      </p:sp>
      <p:sp>
        <p:nvSpPr>
          <p:cNvPr id="3" name="Date Placeholder 2"/>
          <p:cNvSpPr>
            <a:spLocks noGrp="1"/>
          </p:cNvSpPr>
          <p:nvPr>
            <p:ph type="dt" sz="quarter" idx="1"/>
          </p:nvPr>
        </p:nvSpPr>
        <p:spPr>
          <a:xfrm>
            <a:off x="3970942" y="125770"/>
            <a:ext cx="3037840" cy="461804"/>
          </a:xfrm>
          <a:prstGeom prst="rect">
            <a:avLst/>
          </a:prstGeom>
        </p:spPr>
        <p:txBody>
          <a:bodyPr vert="horz" lIns="93387" tIns="46695" rIns="93387" bIns="46695" rtlCol="0"/>
          <a:lstStyle>
            <a:lvl1pPr algn="r">
              <a:defRPr sz="1200"/>
            </a:lvl1pPr>
          </a:lstStyle>
          <a:p>
            <a:fld id="{E17B2DBE-960A-614B-B965-BE0EA04CC77A}" type="datetimeFigureOut">
              <a:rPr lang="en-US" b="1" smtClean="0">
                <a:latin typeface="ServiceNow Sans" panose="020B0504040101010104" pitchFamily="34" charset="0"/>
              </a:rPr>
              <a:pPr/>
              <a:t>12/17/2025</a:t>
            </a:fld>
            <a:endParaRPr lang="en-US" b="1" dirty="0">
              <a:latin typeface="ServiceNow Sans" panose="020B0504040101010104" pitchFamily="34" charset="0"/>
            </a:endParaRPr>
          </a:p>
        </p:txBody>
      </p:sp>
      <p:sp>
        <p:nvSpPr>
          <p:cNvPr id="4" name="Footer Placeholder 3"/>
          <p:cNvSpPr>
            <a:spLocks noGrp="1"/>
          </p:cNvSpPr>
          <p:nvPr>
            <p:ph type="ftr" sz="quarter" idx="2"/>
          </p:nvPr>
        </p:nvSpPr>
        <p:spPr>
          <a:xfrm>
            <a:off x="3" y="8701316"/>
            <a:ext cx="3037840" cy="461804"/>
          </a:xfrm>
          <a:prstGeom prst="rect">
            <a:avLst/>
          </a:prstGeom>
        </p:spPr>
        <p:txBody>
          <a:bodyPr vert="horz" lIns="93387" tIns="46695" rIns="93387" bIns="46695" rtlCol="0" anchor="b"/>
          <a:lstStyle>
            <a:lvl1pPr algn="l">
              <a:defRPr sz="1200"/>
            </a:lvl1pPr>
          </a:lstStyle>
          <a:p>
            <a:endParaRPr lang="en-US" b="1" dirty="0">
              <a:latin typeface="ServiceNow Sans" panose="020B0504040101010104" pitchFamily="34" charset="0"/>
            </a:endParaRPr>
          </a:p>
        </p:txBody>
      </p:sp>
      <p:sp>
        <p:nvSpPr>
          <p:cNvPr id="5" name="Slide Number Placeholder 4"/>
          <p:cNvSpPr>
            <a:spLocks noGrp="1"/>
          </p:cNvSpPr>
          <p:nvPr>
            <p:ph type="sldNum" sz="quarter" idx="3"/>
          </p:nvPr>
        </p:nvSpPr>
        <p:spPr>
          <a:xfrm>
            <a:off x="3970942" y="8701316"/>
            <a:ext cx="3037840" cy="461804"/>
          </a:xfrm>
          <a:prstGeom prst="rect">
            <a:avLst/>
          </a:prstGeom>
        </p:spPr>
        <p:txBody>
          <a:bodyPr vert="horz" lIns="93387" tIns="46695" rIns="93387" bIns="46695" rtlCol="0" anchor="b"/>
          <a:lstStyle>
            <a:lvl1pPr algn="r">
              <a:defRPr sz="1200"/>
            </a:lvl1pPr>
          </a:lstStyle>
          <a:p>
            <a:fld id="{1339C423-F22A-3B4E-A9CE-1A814546B4AA}" type="slidenum">
              <a:rPr lang="en-US" b="1" smtClean="0">
                <a:latin typeface="ServiceNow Sans" panose="020B0504040101010104" pitchFamily="34" charset="0"/>
              </a:rPr>
              <a:pPr/>
              <a:t>‹#›</a:t>
            </a:fld>
            <a:endParaRPr lang="en-US" b="1" dirty="0">
              <a:latin typeface="ServiceNow Sans" panose="020B0504040101010104" pitchFamily="34" charset="0"/>
            </a:endParaRPr>
          </a:p>
        </p:txBody>
      </p:sp>
      <p:pic>
        <p:nvPicPr>
          <p:cNvPr id="35" name="Picture 34">
            <a:extLst>
              <a:ext uri="{FF2B5EF4-FFF2-40B4-BE49-F238E27FC236}">
                <a16:creationId xmlns:a16="http://schemas.microsoft.com/office/drawing/2014/main" id="{4A211A8A-C369-4D94-B82B-7F72C8DB38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018496864"/>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909"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1804"/>
          </a:xfrm>
          <a:prstGeom prst="rect">
            <a:avLst/>
          </a:prstGeom>
        </p:spPr>
        <p:txBody>
          <a:bodyPr vert="horz" lIns="93387" tIns="46695" rIns="93387" bIns="46695" rtlCol="0"/>
          <a:lstStyle>
            <a:lvl1pPr algn="l">
              <a:defRPr sz="1200" b="1" i="0">
                <a:solidFill>
                  <a:schemeClr val="bg1"/>
                </a:solidFill>
                <a:latin typeface="ServiceNow Sans" panose="020B0504040101010104" pitchFamily="34" charset="0"/>
              </a:defRPr>
            </a:lvl1pPr>
          </a:lstStyle>
          <a:p>
            <a:endParaRPr lang="en-US" dirty="0"/>
          </a:p>
        </p:txBody>
      </p:sp>
      <p:sp>
        <p:nvSpPr>
          <p:cNvPr id="3" name="Date Placeholder 2"/>
          <p:cNvSpPr>
            <a:spLocks noGrp="1"/>
          </p:cNvSpPr>
          <p:nvPr>
            <p:ph type="dt" idx="1"/>
          </p:nvPr>
        </p:nvSpPr>
        <p:spPr>
          <a:xfrm>
            <a:off x="3970942" y="0"/>
            <a:ext cx="3037840" cy="461804"/>
          </a:xfrm>
          <a:prstGeom prst="rect">
            <a:avLst/>
          </a:prstGeom>
        </p:spPr>
        <p:txBody>
          <a:bodyPr vert="horz" lIns="93387" tIns="46695" rIns="93387" bIns="46695" rtlCol="0"/>
          <a:lstStyle>
            <a:lvl1pPr algn="r">
              <a:defRPr sz="1200" b="1" i="0">
                <a:solidFill>
                  <a:schemeClr val="bg1"/>
                </a:solidFill>
                <a:latin typeface="ServiceNow Sans" panose="020B0504040101010104" pitchFamily="34" charset="0"/>
              </a:defRPr>
            </a:lvl1pPr>
          </a:lstStyle>
          <a:p>
            <a:fld id="{546148A2-A49E-4B44-80FB-1D231F249F30}" type="datetimeFigureOut">
              <a:rPr lang="en-US" smtClean="0"/>
              <a:pPr/>
              <a:t>12/17/2025</a:t>
            </a:fld>
            <a:endParaRPr lang="en-US" dirty="0"/>
          </a:p>
        </p:txBody>
      </p:sp>
      <p:sp>
        <p:nvSpPr>
          <p:cNvPr id="4" name="Slide Image Placeholder 3"/>
          <p:cNvSpPr>
            <a:spLocks noGrp="1" noRot="1" noChangeAspect="1"/>
          </p:cNvSpPr>
          <p:nvPr>
            <p:ph type="sldImg" idx="2"/>
          </p:nvPr>
        </p:nvSpPr>
        <p:spPr>
          <a:xfrm>
            <a:off x="428625" y="692150"/>
            <a:ext cx="6153150" cy="3462338"/>
          </a:xfrm>
          <a:prstGeom prst="rect">
            <a:avLst/>
          </a:prstGeom>
          <a:noFill/>
          <a:ln w="12700">
            <a:solidFill>
              <a:prstClr val="black"/>
            </a:solidFill>
          </a:ln>
        </p:spPr>
        <p:txBody>
          <a:bodyPr vert="horz" lIns="93387" tIns="46695" rIns="93387" bIns="46695" rtlCol="0" anchor="ctr"/>
          <a:lstStyle/>
          <a:p>
            <a:endParaRPr lang="en-US" dirty="0"/>
          </a:p>
        </p:txBody>
      </p:sp>
      <p:sp>
        <p:nvSpPr>
          <p:cNvPr id="5" name="Notes Placeholder 4"/>
          <p:cNvSpPr>
            <a:spLocks noGrp="1"/>
          </p:cNvSpPr>
          <p:nvPr>
            <p:ph type="body" sz="quarter" idx="3"/>
          </p:nvPr>
        </p:nvSpPr>
        <p:spPr>
          <a:xfrm>
            <a:off x="438151" y="4387136"/>
            <a:ext cx="6134100" cy="4156234"/>
          </a:xfrm>
          <a:prstGeom prst="rect">
            <a:avLst/>
          </a:prstGeom>
        </p:spPr>
        <p:txBody>
          <a:bodyPr vert="horz" lIns="93387" tIns="46695" rIns="93387" bIns="46695" rtlCol="0"/>
          <a:lstStyle/>
          <a:p>
            <a:pPr lvl="0"/>
            <a:r>
              <a:rPr lang="en-US"/>
              <a:t>Click to edit Master text styles</a:t>
            </a:r>
          </a:p>
          <a:p>
            <a:pPr lvl="1"/>
            <a:r>
              <a:rPr lang="en-US"/>
              <a:t>Second level</a:t>
            </a:r>
          </a:p>
        </p:txBody>
      </p:sp>
      <p:sp>
        <p:nvSpPr>
          <p:cNvPr id="6" name="Footer Placeholder 5"/>
          <p:cNvSpPr>
            <a:spLocks noGrp="1"/>
          </p:cNvSpPr>
          <p:nvPr>
            <p:ph type="ftr" sz="quarter" idx="4"/>
          </p:nvPr>
        </p:nvSpPr>
        <p:spPr>
          <a:xfrm>
            <a:off x="3" y="8728227"/>
            <a:ext cx="3037840" cy="461804"/>
          </a:xfrm>
          <a:prstGeom prst="rect">
            <a:avLst/>
          </a:prstGeom>
        </p:spPr>
        <p:txBody>
          <a:bodyPr vert="horz" lIns="93387" tIns="46695" rIns="93387" bIns="46695" rtlCol="0" anchor="b"/>
          <a:lstStyle>
            <a:lvl1pPr algn="l">
              <a:defRPr sz="1200" b="1" i="0">
                <a:solidFill>
                  <a:schemeClr val="bg1"/>
                </a:solidFill>
                <a:latin typeface="ServiceNow Sans" panose="020B0504040101010104" pitchFamily="34" charset="0"/>
              </a:defRPr>
            </a:lvl1pPr>
          </a:lstStyle>
          <a:p>
            <a:endParaRPr lang="en-US" dirty="0"/>
          </a:p>
        </p:txBody>
      </p:sp>
      <p:sp>
        <p:nvSpPr>
          <p:cNvPr id="7" name="Slide Number Placeholder 6"/>
          <p:cNvSpPr>
            <a:spLocks noGrp="1"/>
          </p:cNvSpPr>
          <p:nvPr>
            <p:ph type="sldNum" sz="quarter" idx="5"/>
          </p:nvPr>
        </p:nvSpPr>
        <p:spPr>
          <a:xfrm>
            <a:off x="3970942" y="8728227"/>
            <a:ext cx="3037840" cy="461804"/>
          </a:xfrm>
          <a:prstGeom prst="rect">
            <a:avLst/>
          </a:prstGeom>
        </p:spPr>
        <p:txBody>
          <a:bodyPr vert="horz" lIns="93387" tIns="46695" rIns="93387" bIns="46695" rtlCol="0" anchor="b"/>
          <a:lstStyle>
            <a:lvl1pPr algn="r">
              <a:defRPr sz="1200" b="1" i="0">
                <a:solidFill>
                  <a:schemeClr val="bg1"/>
                </a:solidFill>
                <a:latin typeface="ServiceNow Sans" panose="020B0504040101010104" pitchFamily="34" charset="0"/>
              </a:defRPr>
            </a:lvl1pPr>
          </a:lstStyle>
          <a:p>
            <a:fld id="{074299CD-3469-7241-AD37-C0E01E3A61D2}" type="slidenum">
              <a:rPr lang="en-US" smtClean="0"/>
              <a:pPr/>
              <a:t>‹#›</a:t>
            </a:fld>
            <a:endParaRPr lang="en-US" dirty="0"/>
          </a:p>
        </p:txBody>
      </p:sp>
      <p:pic>
        <p:nvPicPr>
          <p:cNvPr id="35" name="Picture 34">
            <a:extLst>
              <a:ext uri="{FF2B5EF4-FFF2-40B4-BE49-F238E27FC236}">
                <a16:creationId xmlns:a16="http://schemas.microsoft.com/office/drawing/2014/main" id="{AF8886D2-769E-403B-933D-6CB77F4C4F92}"/>
              </a:ext>
            </a:extLst>
          </p:cNvPr>
          <p:cNvPicPr>
            <a:picLocks noChangeAspect="1"/>
          </p:cNvPicPr>
          <p:nvPr/>
        </p:nvPicPr>
        <p:blipFill>
          <a:blip r:embed="rId2"/>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2557597"/>
      </p:ext>
    </p:extLst>
  </p:cSld>
  <p:clrMap bg1="lt1" tx1="dk1" bg2="lt2" tx2="dk2" accent1="accent1" accent2="accent2" accent3="accent3" accent4="accent4" accent5="accent5" accent6="accent6" hlink="hlink" folHlink="folHlink"/>
  <p:hf hdr="0" ftr="0" dt="0"/>
  <p:notesStyle>
    <a:lvl1pPr marL="171450" indent="-171450" algn="l" defTabSz="457040" rtl="0" eaLnBrk="1" latinLnBrk="0" hangingPunct="1">
      <a:lnSpc>
        <a:spcPct val="95000"/>
      </a:lnSpc>
      <a:spcAft>
        <a:spcPts val="600"/>
      </a:spcAft>
      <a:buFont typeface="ServiceNow Sans" panose="020B0504040101010104" pitchFamily="34" charset="0"/>
      <a:buChar char="•"/>
      <a:defRPr sz="1200" b="0" i="0" kern="1200">
        <a:solidFill>
          <a:schemeClr val="bg1"/>
        </a:solidFill>
        <a:latin typeface="ServiceNow Sans" panose="020B0504040101010104" pitchFamily="34" charset="0"/>
        <a:ea typeface="+mn-ea"/>
        <a:cs typeface="ServiceNow Sans" panose="020B0504040101010104" pitchFamily="34" charset="0"/>
      </a:defRPr>
    </a:lvl1pPr>
    <a:lvl2pPr marL="398384" indent="-171450" algn="l" defTabSz="457040" rtl="0" eaLnBrk="1" latinLnBrk="0" hangingPunct="1">
      <a:lnSpc>
        <a:spcPct val="95000"/>
      </a:lnSpc>
      <a:spcAft>
        <a:spcPts val="600"/>
      </a:spcAft>
      <a:buFont typeface="ServiceNow Sans" panose="020B0504040101010104" pitchFamily="34" charset="0"/>
      <a:buChar char="•"/>
      <a:defRPr sz="1100" b="0" i="0" kern="1200">
        <a:solidFill>
          <a:schemeClr val="bg1"/>
        </a:solidFill>
        <a:latin typeface="ServiceNow Sans" panose="020B0504040101010104" pitchFamily="34" charset="0"/>
        <a:ea typeface="+mn-ea"/>
        <a:cs typeface="ServiceNow Sans" panose="020B0504040101010104" pitchFamily="34" charset="0"/>
      </a:defRPr>
    </a:lvl2pPr>
    <a:lvl3pPr marL="914080" algn="l" defTabSz="457040" rtl="0" eaLnBrk="1" latinLnBrk="0" hangingPunct="1">
      <a:defRPr sz="1200" kern="1200">
        <a:solidFill>
          <a:schemeClr val="tx1"/>
        </a:solidFill>
        <a:latin typeface="+mn-lt"/>
        <a:ea typeface="+mn-ea"/>
        <a:cs typeface="+mn-cs"/>
      </a:defRPr>
    </a:lvl3pPr>
    <a:lvl4pPr marL="1371120" algn="l" defTabSz="457040" rtl="0" eaLnBrk="1" latinLnBrk="0" hangingPunct="1">
      <a:defRPr sz="1200" kern="1200">
        <a:solidFill>
          <a:schemeClr val="tx1"/>
        </a:solidFill>
        <a:latin typeface="+mn-lt"/>
        <a:ea typeface="+mn-ea"/>
        <a:cs typeface="+mn-cs"/>
      </a:defRPr>
    </a:lvl4pPr>
    <a:lvl5pPr marL="1828160" algn="l" defTabSz="457040" rtl="0" eaLnBrk="1" latinLnBrk="0" hangingPunct="1">
      <a:defRPr sz="1200" kern="1200">
        <a:solidFill>
          <a:schemeClr val="tx1"/>
        </a:solidFill>
        <a:latin typeface="+mn-lt"/>
        <a:ea typeface="+mn-ea"/>
        <a:cs typeface="+mn-cs"/>
      </a:defRPr>
    </a:lvl5pPr>
    <a:lvl6pPr marL="2285200" algn="l" defTabSz="457040" rtl="0" eaLnBrk="1" latinLnBrk="0" hangingPunct="1">
      <a:defRPr sz="1200" kern="1200">
        <a:solidFill>
          <a:schemeClr val="tx1"/>
        </a:solidFill>
        <a:latin typeface="+mn-lt"/>
        <a:ea typeface="+mn-ea"/>
        <a:cs typeface="+mn-cs"/>
      </a:defRPr>
    </a:lvl6pPr>
    <a:lvl7pPr marL="2742240" algn="l" defTabSz="457040" rtl="0" eaLnBrk="1" latinLnBrk="0" hangingPunct="1">
      <a:defRPr sz="1200" kern="1200">
        <a:solidFill>
          <a:schemeClr val="tx1"/>
        </a:solidFill>
        <a:latin typeface="+mn-lt"/>
        <a:ea typeface="+mn-ea"/>
        <a:cs typeface="+mn-cs"/>
      </a:defRPr>
    </a:lvl7pPr>
    <a:lvl8pPr marL="3199280" algn="l" defTabSz="457040" rtl="0" eaLnBrk="1" latinLnBrk="0" hangingPunct="1">
      <a:defRPr sz="1200" kern="1200">
        <a:solidFill>
          <a:schemeClr val="tx1"/>
        </a:solidFill>
        <a:latin typeface="+mn-lt"/>
        <a:ea typeface="+mn-ea"/>
        <a:cs typeface="+mn-cs"/>
      </a:defRPr>
    </a:lvl8pPr>
    <a:lvl9pPr marL="3656320" algn="l" defTabSz="45704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0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171450" marR="0" lvl="0" indent="-171450" algn="l" defTabSz="457040" rtl="0" eaLnBrk="1" fontAlgn="auto" latinLnBrk="0" hangingPunct="1">
              <a:lnSpc>
                <a:spcPct val="95000"/>
              </a:lnSpc>
              <a:spcBef>
                <a:spcPts val="0"/>
              </a:spcBef>
              <a:spcAft>
                <a:spcPts val="600"/>
              </a:spcAft>
              <a:buClrTx/>
              <a:buSzTx/>
              <a:buFont typeface="ServiceNow Sans" panose="020B0504040101010104" pitchFamily="34" charset="0"/>
              <a:buChar char="•"/>
              <a:tabLst/>
              <a:defRPr/>
            </a:pPr>
            <a:r>
              <a:rPr lang="en-US" dirty="0"/>
              <a:t>When do we say we have completed requirements gathering? It is when we have covered these topics and created user stories for them</a:t>
            </a:r>
          </a:p>
        </p:txBody>
      </p:sp>
      <p:sp>
        <p:nvSpPr>
          <p:cNvPr id="4" name="Slide Number Placeholder 3"/>
          <p:cNvSpPr>
            <a:spLocks noGrp="1"/>
          </p:cNvSpPr>
          <p:nvPr>
            <p:ph type="sldNum" sz="quarter" idx="5"/>
          </p:nvPr>
        </p:nvSpPr>
        <p:spPr/>
        <p:txBody>
          <a:bodyPr/>
          <a:lstStyle/>
          <a:p>
            <a:fld id="{074299CD-3469-7241-AD37-C0E01E3A61D2}" type="slidenum">
              <a:rPr lang="en-US" smtClean="0"/>
              <a:pPr/>
              <a:t>8</a:t>
            </a:fld>
            <a:endParaRPr lang="en-US" dirty="0"/>
          </a:p>
        </p:txBody>
      </p:sp>
    </p:spTree>
    <p:extLst>
      <p:ext uri="{BB962C8B-B14F-4D97-AF65-F5344CB8AC3E}">
        <p14:creationId xmlns:p14="http://schemas.microsoft.com/office/powerpoint/2010/main" val="626619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If customer is implementing Now Assist, demo the Create Job Requisition AI Agents</a:t>
            </a:r>
          </a:p>
        </p:txBody>
      </p:sp>
      <p:sp>
        <p:nvSpPr>
          <p:cNvPr id="4" name="Slide Number Placeholder 3"/>
          <p:cNvSpPr>
            <a:spLocks noGrp="1"/>
          </p:cNvSpPr>
          <p:nvPr>
            <p:ph type="sldNum" sz="quarter" idx="5"/>
          </p:nvPr>
        </p:nvSpPr>
        <p:spPr/>
        <p:txBody>
          <a:bodyPr/>
          <a:lstStyle/>
          <a:p>
            <a:fld id="{074299CD-3469-7241-AD37-C0E01E3A61D2}" type="slidenum">
              <a:rPr lang="en-US" smtClean="0"/>
              <a:pPr/>
              <a:t>29</a:t>
            </a:fld>
            <a:endParaRPr lang="en-US" dirty="0"/>
          </a:p>
        </p:txBody>
      </p:sp>
    </p:spTree>
    <p:extLst>
      <p:ext uri="{BB962C8B-B14F-4D97-AF65-F5344CB8AC3E}">
        <p14:creationId xmlns:p14="http://schemas.microsoft.com/office/powerpoint/2010/main" val="172708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buNone/>
            </a:pPr>
            <a:r>
              <a:rPr lang="en-US" dirty="0">
                <a:latin typeface="Calibri"/>
                <a:ea typeface="Calibri"/>
                <a:cs typeface="Calibri"/>
              </a:rPr>
              <a:t>Emails &amp; notifications can be branded for the company so that it's clear who the communications are from.</a:t>
            </a:r>
          </a:p>
        </p:txBody>
      </p:sp>
      <p:sp>
        <p:nvSpPr>
          <p:cNvPr id="4" name="Slide Number Placeholder 3"/>
          <p:cNvSpPr>
            <a:spLocks noGrp="1"/>
          </p:cNvSpPr>
          <p:nvPr>
            <p:ph type="sldNum" sz="quarter" idx="5"/>
          </p:nvPr>
        </p:nvSpPr>
        <p:spPr/>
        <p:txBody>
          <a:bodyPr/>
          <a:lstStyle/>
          <a:p>
            <a:fld id="{074299CD-3469-7241-AD37-C0E01E3A61D2}" type="slidenum">
              <a:rPr lang="en-US" smtClean="0"/>
              <a:pPr/>
              <a:t>35</a:t>
            </a:fld>
            <a:endParaRPr lang="en-US" dirty="0"/>
          </a:p>
        </p:txBody>
      </p:sp>
    </p:spTree>
    <p:extLst>
      <p:ext uri="{BB962C8B-B14F-4D97-AF65-F5344CB8AC3E}">
        <p14:creationId xmlns:p14="http://schemas.microsoft.com/office/powerpoint/2010/main" val="840440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buNone/>
            </a:pPr>
            <a:r>
              <a:rPr lang="en-US" dirty="0">
                <a:latin typeface="Calibri"/>
                <a:ea typeface="Calibri"/>
                <a:cs typeface="Calibri"/>
              </a:rPr>
              <a:t>Recommendation: Create a knowledge base for recruiters to provide them with information specific to their role.</a:t>
            </a:r>
          </a:p>
        </p:txBody>
      </p:sp>
      <p:sp>
        <p:nvSpPr>
          <p:cNvPr id="4" name="Slide Number Placeholder 3"/>
          <p:cNvSpPr>
            <a:spLocks noGrp="1"/>
          </p:cNvSpPr>
          <p:nvPr>
            <p:ph type="sldNum" sz="quarter" idx="5"/>
          </p:nvPr>
        </p:nvSpPr>
        <p:spPr/>
        <p:txBody>
          <a:bodyPr/>
          <a:lstStyle/>
          <a:p>
            <a:fld id="{074299CD-3469-7241-AD37-C0E01E3A61D2}" type="slidenum">
              <a:rPr lang="en-US" smtClean="0"/>
              <a:pPr/>
              <a:t>47</a:t>
            </a:fld>
            <a:endParaRPr lang="en-US" dirty="0"/>
          </a:p>
        </p:txBody>
      </p:sp>
    </p:spTree>
    <p:extLst>
      <p:ext uri="{BB962C8B-B14F-4D97-AF65-F5344CB8AC3E}">
        <p14:creationId xmlns:p14="http://schemas.microsoft.com/office/powerpoint/2010/main" val="408518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48</a:t>
            </a:fld>
            <a:endParaRPr lang="en-US" dirty="0"/>
          </a:p>
        </p:txBody>
      </p:sp>
    </p:spTree>
    <p:extLst>
      <p:ext uri="{BB962C8B-B14F-4D97-AF65-F5344CB8AC3E}">
        <p14:creationId xmlns:p14="http://schemas.microsoft.com/office/powerpoint/2010/main" val="1888924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49</a:t>
            </a:fld>
            <a:endParaRPr lang="en-US" dirty="0"/>
          </a:p>
        </p:txBody>
      </p:sp>
    </p:spTree>
    <p:extLst>
      <p:ext uri="{BB962C8B-B14F-4D97-AF65-F5344CB8AC3E}">
        <p14:creationId xmlns:p14="http://schemas.microsoft.com/office/powerpoint/2010/main" val="4128898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51</a:t>
            </a:fld>
            <a:endParaRPr lang="en-US" dirty="0"/>
          </a:p>
        </p:txBody>
      </p:sp>
    </p:spTree>
    <p:extLst>
      <p:ext uri="{BB962C8B-B14F-4D97-AF65-F5344CB8AC3E}">
        <p14:creationId xmlns:p14="http://schemas.microsoft.com/office/powerpoint/2010/main" val="772535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C2799-F686-B104-1D1F-9D80FC7D4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4809F1-2881-566C-1644-56A5466624C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F7057A4-010F-A0E9-6636-EF6C4CE3884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FD7508-C103-7D48-EF3B-F2AE80B9F952}"/>
              </a:ext>
            </a:extLst>
          </p:cNvPr>
          <p:cNvSpPr>
            <a:spLocks noGrp="1"/>
          </p:cNvSpPr>
          <p:nvPr>
            <p:ph type="sldNum" sz="quarter" idx="5"/>
          </p:nvPr>
        </p:nvSpPr>
        <p:spPr/>
        <p:txBody>
          <a:bodyPr/>
          <a:lstStyle/>
          <a:p>
            <a:fld id="{074299CD-3469-7241-AD37-C0E01E3A61D2}" type="slidenum">
              <a:rPr lang="en-US" smtClean="0"/>
              <a:pPr/>
              <a:t>52</a:t>
            </a:fld>
            <a:endParaRPr lang="en-US" dirty="0"/>
          </a:p>
        </p:txBody>
      </p:sp>
    </p:spTree>
    <p:extLst>
      <p:ext uri="{BB962C8B-B14F-4D97-AF65-F5344CB8AC3E}">
        <p14:creationId xmlns:p14="http://schemas.microsoft.com/office/powerpoint/2010/main" val="1173602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Switch over to an instance and do a live demo of the form as you gather the requirements</a:t>
            </a:r>
          </a:p>
        </p:txBody>
      </p:sp>
      <p:sp>
        <p:nvSpPr>
          <p:cNvPr id="4" name="Slide Number Placeholder 3"/>
          <p:cNvSpPr>
            <a:spLocks noGrp="1"/>
          </p:cNvSpPr>
          <p:nvPr>
            <p:ph type="sldNum" sz="quarter" idx="5"/>
          </p:nvPr>
        </p:nvSpPr>
        <p:spPr/>
        <p:txBody>
          <a:bodyPr/>
          <a:lstStyle/>
          <a:p>
            <a:fld id="{074299CD-3469-7241-AD37-C0E01E3A61D2}" type="slidenum">
              <a:rPr lang="en-US" smtClean="0"/>
              <a:pPr/>
              <a:t>53</a:t>
            </a:fld>
            <a:endParaRPr lang="en-US" dirty="0"/>
          </a:p>
        </p:txBody>
      </p:sp>
    </p:spTree>
    <p:extLst>
      <p:ext uri="{BB962C8B-B14F-4D97-AF65-F5344CB8AC3E}">
        <p14:creationId xmlns:p14="http://schemas.microsoft.com/office/powerpoint/2010/main" val="930003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Switch over to an instance and do a live demo of the entire form and answer any questions from the customer</a:t>
            </a:r>
          </a:p>
        </p:txBody>
      </p:sp>
      <p:sp>
        <p:nvSpPr>
          <p:cNvPr id="4" name="Slide Number Placeholder 3"/>
          <p:cNvSpPr>
            <a:spLocks noGrp="1"/>
          </p:cNvSpPr>
          <p:nvPr>
            <p:ph type="sldNum" sz="quarter" idx="5"/>
          </p:nvPr>
        </p:nvSpPr>
        <p:spPr/>
        <p:txBody>
          <a:bodyPr/>
          <a:lstStyle/>
          <a:p>
            <a:fld id="{074299CD-3469-7241-AD37-C0E01E3A61D2}" type="slidenum">
              <a:rPr lang="en-US" smtClean="0"/>
              <a:pPr/>
              <a:t>54</a:t>
            </a:fld>
            <a:endParaRPr lang="en-US" dirty="0"/>
          </a:p>
        </p:txBody>
      </p:sp>
    </p:spTree>
    <p:extLst>
      <p:ext uri="{BB962C8B-B14F-4D97-AF65-F5344CB8AC3E}">
        <p14:creationId xmlns:p14="http://schemas.microsoft.com/office/powerpoint/2010/main" val="966699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171450" marR="0" lvl="0" indent="-171450" algn="l" defTabSz="457040" rtl="0" eaLnBrk="1" fontAlgn="auto" latinLnBrk="0" hangingPunct="1">
              <a:lnSpc>
                <a:spcPct val="95000"/>
              </a:lnSpc>
              <a:spcBef>
                <a:spcPts val="0"/>
              </a:spcBef>
              <a:spcAft>
                <a:spcPts val="600"/>
              </a:spcAft>
              <a:buClrTx/>
              <a:buSzTx/>
              <a:buFont typeface="ServiceNow Sans" panose="020B0504040101010104" pitchFamily="34" charset="0"/>
              <a:buChar char="•"/>
              <a:tabLst/>
              <a:defRPr/>
            </a:pPr>
            <a:r>
              <a:rPr lang="en-US" dirty="0"/>
              <a:t>If customer is implementing Now Assist, demo the Interview Scheduling AI Agent</a:t>
            </a:r>
          </a:p>
        </p:txBody>
      </p:sp>
      <p:sp>
        <p:nvSpPr>
          <p:cNvPr id="4" name="Slide Number Placeholder 3"/>
          <p:cNvSpPr>
            <a:spLocks noGrp="1"/>
          </p:cNvSpPr>
          <p:nvPr>
            <p:ph type="sldNum" sz="quarter" idx="5"/>
          </p:nvPr>
        </p:nvSpPr>
        <p:spPr/>
        <p:txBody>
          <a:bodyPr/>
          <a:lstStyle/>
          <a:p>
            <a:fld id="{074299CD-3469-7241-AD37-C0E01E3A61D2}" type="slidenum">
              <a:rPr lang="en-US" smtClean="0"/>
              <a:pPr/>
              <a:t>59</a:t>
            </a:fld>
            <a:endParaRPr lang="en-US" dirty="0"/>
          </a:p>
        </p:txBody>
      </p:sp>
    </p:spTree>
    <p:extLst>
      <p:ext uri="{BB962C8B-B14F-4D97-AF65-F5344CB8AC3E}">
        <p14:creationId xmlns:p14="http://schemas.microsoft.com/office/powerpoint/2010/main" val="4035912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7F1D9-9195-7332-4CCF-EE89796147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49E4CF-08B8-9D37-87F0-77ADD7C6E5C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C810E79-5CA7-6E46-8E6B-BB2DBC4EADF3}"/>
              </a:ext>
            </a:extLst>
          </p:cNvPr>
          <p:cNvSpPr>
            <a:spLocks noGrp="1"/>
          </p:cNvSpPr>
          <p:nvPr>
            <p:ph type="body" idx="1"/>
          </p:nvPr>
        </p:nvSpPr>
        <p:spPr/>
        <p:txBody>
          <a:bodyPr/>
          <a:lstStyle/>
          <a:p>
            <a:pPr marL="171450" marR="0" lvl="0" indent="-171450" algn="l" defTabSz="457040" rtl="0" eaLnBrk="1" fontAlgn="auto" latinLnBrk="0" hangingPunct="1">
              <a:lnSpc>
                <a:spcPct val="95000"/>
              </a:lnSpc>
              <a:spcBef>
                <a:spcPts val="0"/>
              </a:spcBef>
              <a:spcAft>
                <a:spcPts val="600"/>
              </a:spcAft>
              <a:buClrTx/>
              <a:buSzTx/>
              <a:buFont typeface="ServiceNow Sans" panose="020B0504040101010104" pitchFamily="34" charset="0"/>
              <a:buChar char="•"/>
              <a:tabLst/>
              <a:defRPr/>
            </a:pPr>
            <a:r>
              <a:rPr lang="en-US" dirty="0"/>
              <a:t>When do we say we have completed requirements gathering? It is when we have covered these topics and created user stories for them</a:t>
            </a:r>
          </a:p>
          <a:p>
            <a:endParaRPr lang="en-US" dirty="0"/>
          </a:p>
        </p:txBody>
      </p:sp>
      <p:sp>
        <p:nvSpPr>
          <p:cNvPr id="4" name="Slide Number Placeholder 3">
            <a:extLst>
              <a:ext uri="{FF2B5EF4-FFF2-40B4-BE49-F238E27FC236}">
                <a16:creationId xmlns:a16="http://schemas.microsoft.com/office/drawing/2014/main" id="{9D83084D-540F-F88E-7DAD-7D43CC3E3575}"/>
              </a:ext>
            </a:extLst>
          </p:cNvPr>
          <p:cNvSpPr>
            <a:spLocks noGrp="1"/>
          </p:cNvSpPr>
          <p:nvPr>
            <p:ph type="sldNum" sz="quarter" idx="5"/>
          </p:nvPr>
        </p:nvSpPr>
        <p:spPr/>
        <p:txBody>
          <a:bodyPr/>
          <a:lstStyle/>
          <a:p>
            <a:fld id="{074299CD-3469-7241-AD37-C0E01E3A61D2}" type="slidenum">
              <a:rPr lang="en-US" smtClean="0"/>
              <a:pPr/>
              <a:t>9</a:t>
            </a:fld>
            <a:endParaRPr lang="en-US" dirty="0"/>
          </a:p>
        </p:txBody>
      </p:sp>
    </p:spTree>
    <p:extLst>
      <p:ext uri="{BB962C8B-B14F-4D97-AF65-F5344CB8AC3E}">
        <p14:creationId xmlns:p14="http://schemas.microsoft.com/office/powerpoint/2010/main" val="734832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OOB Types: </a:t>
            </a:r>
          </a:p>
          <a:p>
            <a:pPr lvl="1"/>
            <a:r>
              <a:rPr lang="en-US" dirty="0"/>
              <a:t>Screening</a:t>
            </a:r>
          </a:p>
          <a:p>
            <a:pPr lvl="1"/>
            <a:r>
              <a:rPr lang="en-US" dirty="0"/>
              <a:t>Technical</a:t>
            </a:r>
          </a:p>
          <a:p>
            <a:pPr lvl="1"/>
            <a:r>
              <a:rPr lang="en-US" dirty="0"/>
              <a:t>Managerial</a:t>
            </a:r>
          </a:p>
          <a:p>
            <a:pPr lvl="1"/>
            <a:r>
              <a:rPr lang="en-US" dirty="0"/>
              <a:t>Executive</a:t>
            </a:r>
          </a:p>
          <a:p>
            <a:pPr lvl="1"/>
            <a:r>
              <a:rPr lang="en-US" dirty="0"/>
              <a:t>Cultural fit</a:t>
            </a:r>
          </a:p>
        </p:txBody>
      </p:sp>
      <p:sp>
        <p:nvSpPr>
          <p:cNvPr id="4" name="Slide Number Placeholder 3"/>
          <p:cNvSpPr>
            <a:spLocks noGrp="1"/>
          </p:cNvSpPr>
          <p:nvPr>
            <p:ph type="sldNum" sz="quarter" idx="5"/>
          </p:nvPr>
        </p:nvSpPr>
        <p:spPr/>
        <p:txBody>
          <a:bodyPr/>
          <a:lstStyle/>
          <a:p>
            <a:fld id="{074299CD-3469-7241-AD37-C0E01E3A61D2}" type="slidenum">
              <a:rPr lang="en-US" smtClean="0"/>
              <a:pPr/>
              <a:t>63</a:t>
            </a:fld>
            <a:endParaRPr lang="en-US" dirty="0"/>
          </a:p>
        </p:txBody>
      </p:sp>
    </p:spTree>
    <p:extLst>
      <p:ext uri="{BB962C8B-B14F-4D97-AF65-F5344CB8AC3E}">
        <p14:creationId xmlns:p14="http://schemas.microsoft.com/office/powerpoint/2010/main" val="2580575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buNone/>
            </a:pPr>
            <a:r>
              <a:rPr lang="en-US" dirty="0">
                <a:latin typeface="Calibri"/>
                <a:ea typeface="Calibri"/>
                <a:cs typeface="Calibri"/>
              </a:rPr>
              <a:t>Applicant center can be customized for the company to provide a personalized experience:</a:t>
            </a:r>
          </a:p>
          <a:p>
            <a:r>
              <a:rPr lang="en-US" dirty="0">
                <a:latin typeface="Calibri"/>
                <a:ea typeface="Calibri"/>
                <a:cs typeface="Calibri"/>
              </a:rPr>
              <a:t>Company branding</a:t>
            </a:r>
          </a:p>
          <a:p>
            <a:r>
              <a:rPr lang="en-US" dirty="0">
                <a:latin typeface="Calibri"/>
                <a:ea typeface="Calibri"/>
                <a:cs typeface="Calibri"/>
              </a:rPr>
              <a:t>Custom header</a:t>
            </a:r>
          </a:p>
          <a:p>
            <a:r>
              <a:rPr lang="en-US" dirty="0">
                <a:latin typeface="Calibri"/>
                <a:ea typeface="Calibri"/>
                <a:cs typeface="Calibri"/>
              </a:rPr>
              <a:t>Custom footer</a:t>
            </a:r>
          </a:p>
          <a:p>
            <a:r>
              <a:rPr lang="en-US" dirty="0">
                <a:latin typeface="Calibri"/>
                <a:ea typeface="Calibri"/>
                <a:cs typeface="Calibri"/>
              </a:rPr>
              <a:t>Content &amp; campaigns</a:t>
            </a:r>
          </a:p>
          <a:p>
            <a:pPr marL="0" indent="0">
              <a:buNone/>
            </a:pPr>
            <a:endParaRPr lang="en-US" dirty="0">
              <a:latin typeface="Calibri"/>
              <a:ea typeface="Calibri"/>
              <a:cs typeface="Calibri"/>
            </a:endParaRPr>
          </a:p>
          <a:p>
            <a:pPr marL="0" indent="0">
              <a:buNone/>
            </a:pPr>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074299CD-3469-7241-AD37-C0E01E3A61D2}" type="slidenum">
              <a:rPr lang="en-US" smtClean="0"/>
              <a:pPr/>
              <a:t>67</a:t>
            </a:fld>
            <a:endParaRPr lang="en-US" dirty="0"/>
          </a:p>
        </p:txBody>
      </p:sp>
    </p:spTree>
    <p:extLst>
      <p:ext uri="{BB962C8B-B14F-4D97-AF65-F5344CB8AC3E}">
        <p14:creationId xmlns:p14="http://schemas.microsoft.com/office/powerpoint/2010/main" val="14490558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AF73F-BD0B-EF4B-E6B1-83C55DB961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50C350-47A0-3AC3-5AA9-00C8D80FE9B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0123052-B781-C6E5-9B00-E1B9468CEBD9}"/>
              </a:ext>
            </a:extLst>
          </p:cNvPr>
          <p:cNvSpPr>
            <a:spLocks noGrp="1"/>
          </p:cNvSpPr>
          <p:nvPr>
            <p:ph type="body" idx="1"/>
          </p:nvPr>
        </p:nvSpPr>
        <p:spPr/>
        <p:txBody>
          <a:bodyPr/>
          <a:lstStyle/>
          <a:p>
            <a:pPr>
              <a:buNone/>
            </a:pPr>
            <a:r>
              <a:rPr lang="en-US" dirty="0"/>
              <a:t>Recommendation: Create a knowledge base for applicants to provide them with information for their common questions.</a:t>
            </a:r>
          </a:p>
        </p:txBody>
      </p:sp>
      <p:sp>
        <p:nvSpPr>
          <p:cNvPr id="4" name="Slide Number Placeholder 3">
            <a:extLst>
              <a:ext uri="{FF2B5EF4-FFF2-40B4-BE49-F238E27FC236}">
                <a16:creationId xmlns:a16="http://schemas.microsoft.com/office/drawing/2014/main" id="{D8E55C01-B849-FE51-36A5-409181C4D042}"/>
              </a:ext>
            </a:extLst>
          </p:cNvPr>
          <p:cNvSpPr>
            <a:spLocks noGrp="1"/>
          </p:cNvSpPr>
          <p:nvPr>
            <p:ph type="sldNum" sz="quarter" idx="5"/>
          </p:nvPr>
        </p:nvSpPr>
        <p:spPr/>
        <p:txBody>
          <a:bodyPr/>
          <a:lstStyle/>
          <a:p>
            <a:fld id="{074299CD-3469-7241-AD37-C0E01E3A61D2}" type="slidenum">
              <a:rPr lang="en-US" smtClean="0"/>
              <a:pPr/>
              <a:t>68</a:t>
            </a:fld>
            <a:endParaRPr lang="en-US" dirty="0"/>
          </a:p>
        </p:txBody>
      </p:sp>
    </p:spTree>
    <p:extLst>
      <p:ext uri="{BB962C8B-B14F-4D97-AF65-F5344CB8AC3E}">
        <p14:creationId xmlns:p14="http://schemas.microsoft.com/office/powerpoint/2010/main" val="31400593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Search includes AI and a basic text search</a:t>
            </a:r>
          </a:p>
          <a:p>
            <a:r>
              <a:rPr lang="en-US" dirty="0"/>
              <a:t>Jobs are listed via an integration with one or more ATSs (Applicant Tracking Systems)</a:t>
            </a:r>
          </a:p>
          <a:p>
            <a:pPr marL="398145" lvl="1"/>
            <a:r>
              <a:rPr lang="en-US" dirty="0"/>
              <a:t>Multiple postings per requisition are possible (for example, for multiple locations)</a:t>
            </a:r>
          </a:p>
          <a:p>
            <a:pPr marL="398145" lvl="1"/>
            <a:r>
              <a:rPr lang="en-US" dirty="0"/>
              <a:t>Jobs can also be posted without a requisition</a:t>
            </a:r>
            <a:endParaRPr lang="en-US" sz="1200" dirty="0"/>
          </a:p>
          <a:p>
            <a:pPr marL="398145" lvl="1"/>
            <a:r>
              <a:rPr lang="en-US" dirty="0"/>
              <a:t>Opportunities can be created from an SPM project</a:t>
            </a:r>
          </a:p>
          <a:p>
            <a:pPr marL="1028065" lvl="2" indent="-285750">
              <a:buFont typeface="Arial"/>
            </a:pPr>
            <a:r>
              <a:rPr lang="en-US" dirty="0">
                <a:solidFill>
                  <a:srgbClr val="FFFFFF"/>
                </a:solidFill>
                <a:latin typeface="ServiceNow Sans"/>
              </a:rPr>
              <a:t>When creating Opportunities, SPM users are able to select from their SPM Projects to generate their Opportunity</a:t>
            </a:r>
            <a:endParaRPr lang="en-US" sz="1100" dirty="0">
              <a:solidFill>
                <a:srgbClr val="FFFFFF"/>
              </a:solidFill>
              <a:latin typeface="ServiceNow Sans"/>
            </a:endParaRPr>
          </a:p>
          <a:p>
            <a:pPr>
              <a:lnSpc>
                <a:spcPct val="95000"/>
              </a:lnSpc>
              <a:spcAft>
                <a:spcPts val="600"/>
              </a:spcAft>
              <a:buFont typeface="ServiceNow Sans" panose="020B0504040101010104" pitchFamily="34" charset="0"/>
              <a:buChar char="•"/>
            </a:pPr>
            <a:r>
              <a:rPr lang="en-US" dirty="0"/>
              <a:t>“Opportunities that might interest you” section: </a:t>
            </a:r>
          </a:p>
          <a:p>
            <a:pPr marL="398145" lvl="1"/>
            <a:r>
              <a:rPr lang="en-US" sz="1000" dirty="0"/>
              <a:t>View job recommendations based on current skills, experience, and aspirations</a:t>
            </a:r>
          </a:p>
          <a:p>
            <a:pPr marL="398145" lvl="1"/>
            <a:r>
              <a:rPr lang="en-US" sz="1000" dirty="0"/>
              <a:t>Recommendations are based on the weight of 80% of skills and 20% of preferences</a:t>
            </a:r>
          </a:p>
          <a:p>
            <a:pPr lvl="0"/>
            <a:endParaRPr lang="en-US" sz="1100" dirty="0"/>
          </a:p>
          <a:p>
            <a:pPr lvl="0"/>
            <a:r>
              <a:rPr lang="en-US" sz="1100" b="1" dirty="0"/>
              <a:t>Configurable Opportunity Types</a:t>
            </a:r>
          </a:p>
          <a:p>
            <a:pPr marL="398145" lvl="1"/>
            <a:r>
              <a:rPr lang="en-US" sz="1000" dirty="0"/>
              <a:t>Gigs (short term role)</a:t>
            </a:r>
          </a:p>
          <a:p>
            <a:pPr marL="398145" lvl="1"/>
            <a:r>
              <a:rPr lang="en-US" sz="1000" dirty="0"/>
              <a:t>Projects (multiple roles)</a:t>
            </a:r>
          </a:p>
          <a:p>
            <a:pPr marL="398145" lvl="1"/>
            <a:r>
              <a:rPr lang="en-US" sz="1000" dirty="0"/>
              <a:t>Volunteer (multiple roles)</a:t>
            </a:r>
          </a:p>
          <a:p>
            <a:pPr marL="398145" lvl="1"/>
            <a:r>
              <a:rPr lang="en-US" sz="1000" dirty="0"/>
              <a:t>Customer Defined Opportunity Types (define these as needed)</a:t>
            </a:r>
          </a:p>
        </p:txBody>
      </p:sp>
      <p:sp>
        <p:nvSpPr>
          <p:cNvPr id="4" name="Slide Number Placeholder 3"/>
          <p:cNvSpPr>
            <a:spLocks noGrp="1"/>
          </p:cNvSpPr>
          <p:nvPr>
            <p:ph type="sldNum" sz="quarter" idx="5"/>
          </p:nvPr>
        </p:nvSpPr>
        <p:spPr/>
        <p:txBody>
          <a:bodyPr/>
          <a:lstStyle/>
          <a:p>
            <a:fld id="{074299CD-3469-7241-AD37-C0E01E3A61D2}" type="slidenum">
              <a:rPr lang="en-US" smtClean="0"/>
              <a:pPr/>
              <a:t>77</a:t>
            </a:fld>
            <a:endParaRPr lang="en-US" dirty="0"/>
          </a:p>
        </p:txBody>
      </p:sp>
    </p:spTree>
    <p:extLst>
      <p:ext uri="{BB962C8B-B14F-4D97-AF65-F5344CB8AC3E}">
        <p14:creationId xmlns:p14="http://schemas.microsoft.com/office/powerpoint/2010/main" val="2248487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lvl="0"/>
            <a:r>
              <a:rPr lang="en-US" sz="1100" dirty="0"/>
              <a:t>If any opportunities have been shared with you, an additional widget named “Opportunities shared with you” will appear</a:t>
            </a:r>
          </a:p>
          <a:p>
            <a:pPr lvl="0"/>
            <a:r>
              <a:rPr lang="en-US" sz="1100" dirty="0"/>
              <a:t>Testimonials are controlled by admins</a:t>
            </a:r>
          </a:p>
          <a:p>
            <a:pPr marL="171450" marR="0" lvl="0" indent="-171450" algn="l" defTabSz="457040" rtl="0" eaLnBrk="1" fontAlgn="auto" latinLnBrk="0" hangingPunct="1">
              <a:lnSpc>
                <a:spcPct val="95000"/>
              </a:lnSpc>
              <a:spcBef>
                <a:spcPts val="0"/>
              </a:spcBef>
              <a:spcAft>
                <a:spcPts val="600"/>
              </a:spcAft>
              <a:buClrTx/>
              <a:buSzTx/>
              <a:buFont typeface="Arial" panose="020B0604020202020204" pitchFamily="34" charset="0"/>
              <a:buChar char="•"/>
              <a:tabLst/>
              <a:defRPr/>
            </a:pPr>
            <a:r>
              <a:rPr lang="en-US" sz="1100" dirty="0"/>
              <a:t>Application status: Note ongoing application interactions between recruiter/hiring manager and employee are handled via external ATS</a:t>
            </a:r>
          </a:p>
          <a:p>
            <a:pPr lvl="0"/>
            <a:endParaRPr lang="en-US" sz="1100" dirty="0"/>
          </a:p>
          <a:p>
            <a:pPr lvl="1"/>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78</a:t>
            </a:fld>
            <a:endParaRPr lang="en-US" dirty="0"/>
          </a:p>
        </p:txBody>
      </p:sp>
    </p:spTree>
    <p:extLst>
      <p:ext uri="{BB962C8B-B14F-4D97-AF65-F5344CB8AC3E}">
        <p14:creationId xmlns:p14="http://schemas.microsoft.com/office/powerpoint/2010/main" val="4229510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5331A-F1A7-D8E6-6BCA-BEC78EF117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FC76EC-BB98-7DB8-4781-C2D93ECAB79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DE211FE-2220-814C-AEE6-E214801CB031}"/>
              </a:ext>
            </a:extLst>
          </p:cNvPr>
          <p:cNvSpPr>
            <a:spLocks noGrp="1"/>
          </p:cNvSpPr>
          <p:nvPr>
            <p:ph type="body" idx="1"/>
          </p:nvPr>
        </p:nvSpPr>
        <p:spPr/>
        <p:txBody>
          <a:bodyPr/>
          <a:lstStyle/>
          <a:p>
            <a:pPr lvl="0"/>
            <a:endParaRPr lang="en-US" sz="1100" dirty="0"/>
          </a:p>
          <a:p>
            <a:pPr lvl="1"/>
            <a:endParaRPr lang="en-US" dirty="0"/>
          </a:p>
        </p:txBody>
      </p:sp>
      <p:sp>
        <p:nvSpPr>
          <p:cNvPr id="4" name="Slide Number Placeholder 3">
            <a:extLst>
              <a:ext uri="{FF2B5EF4-FFF2-40B4-BE49-F238E27FC236}">
                <a16:creationId xmlns:a16="http://schemas.microsoft.com/office/drawing/2014/main" id="{116EF2BA-434E-217A-24F0-373927B1B82B}"/>
              </a:ext>
            </a:extLst>
          </p:cNvPr>
          <p:cNvSpPr>
            <a:spLocks noGrp="1"/>
          </p:cNvSpPr>
          <p:nvPr>
            <p:ph type="sldNum" sz="quarter" idx="5"/>
          </p:nvPr>
        </p:nvSpPr>
        <p:spPr/>
        <p:txBody>
          <a:bodyPr/>
          <a:lstStyle/>
          <a:p>
            <a:fld id="{074299CD-3469-7241-AD37-C0E01E3A61D2}" type="slidenum">
              <a:rPr lang="en-US" smtClean="0"/>
              <a:pPr/>
              <a:t>79</a:t>
            </a:fld>
            <a:endParaRPr lang="en-US" dirty="0"/>
          </a:p>
        </p:txBody>
      </p:sp>
    </p:spTree>
    <p:extLst>
      <p:ext uri="{BB962C8B-B14F-4D97-AF65-F5344CB8AC3E}">
        <p14:creationId xmlns:p14="http://schemas.microsoft.com/office/powerpoint/2010/main" val="2931231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3BA37-2780-52DE-5CE7-7ACE4CBFA7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458EC3-C71E-5B79-3A26-99200E3BDB8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DA0E2CB-AD97-2751-2580-98E19B997EDF}"/>
              </a:ext>
            </a:extLst>
          </p:cNvPr>
          <p:cNvSpPr>
            <a:spLocks noGrp="1"/>
          </p:cNvSpPr>
          <p:nvPr>
            <p:ph type="body" idx="1"/>
          </p:nvPr>
        </p:nvSpPr>
        <p:spPr/>
        <p:txBody>
          <a:bodyPr/>
          <a:lstStyle/>
          <a:p>
            <a:pPr lvl="0"/>
            <a:endParaRPr lang="en-US" sz="1100" dirty="0"/>
          </a:p>
          <a:p>
            <a:pPr lvl="1"/>
            <a:endParaRPr lang="en-US" dirty="0"/>
          </a:p>
        </p:txBody>
      </p:sp>
      <p:sp>
        <p:nvSpPr>
          <p:cNvPr id="4" name="Slide Number Placeholder 3">
            <a:extLst>
              <a:ext uri="{FF2B5EF4-FFF2-40B4-BE49-F238E27FC236}">
                <a16:creationId xmlns:a16="http://schemas.microsoft.com/office/drawing/2014/main" id="{80AD9F9F-66DF-CD30-6FF6-7FB450937BEC}"/>
              </a:ext>
            </a:extLst>
          </p:cNvPr>
          <p:cNvSpPr>
            <a:spLocks noGrp="1"/>
          </p:cNvSpPr>
          <p:nvPr>
            <p:ph type="sldNum" sz="quarter" idx="5"/>
          </p:nvPr>
        </p:nvSpPr>
        <p:spPr/>
        <p:txBody>
          <a:bodyPr/>
          <a:lstStyle/>
          <a:p>
            <a:fld id="{074299CD-3469-7241-AD37-C0E01E3A61D2}" type="slidenum">
              <a:rPr lang="en-US" smtClean="0"/>
              <a:pPr/>
              <a:t>80</a:t>
            </a:fld>
            <a:endParaRPr lang="en-US" dirty="0"/>
          </a:p>
        </p:txBody>
      </p:sp>
    </p:spTree>
    <p:extLst>
      <p:ext uri="{BB962C8B-B14F-4D97-AF65-F5344CB8AC3E}">
        <p14:creationId xmlns:p14="http://schemas.microsoft.com/office/powerpoint/2010/main" val="26709228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EE9DD-D7A1-381E-335E-225BCC84FE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D91D6A-C5BF-D9AD-BA05-A74CC379872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05F31BA-56AB-7856-E58E-A8A4AB99C885}"/>
              </a:ext>
            </a:extLst>
          </p:cNvPr>
          <p:cNvSpPr>
            <a:spLocks noGrp="1"/>
          </p:cNvSpPr>
          <p:nvPr>
            <p:ph type="body" idx="1"/>
          </p:nvPr>
        </p:nvSpPr>
        <p:spPr/>
        <p:txBody>
          <a:bodyPr/>
          <a:lstStyle/>
          <a:p>
            <a:pPr lvl="1"/>
            <a:endParaRPr lang="en-US" dirty="0"/>
          </a:p>
        </p:txBody>
      </p:sp>
      <p:sp>
        <p:nvSpPr>
          <p:cNvPr id="4" name="Slide Number Placeholder 3">
            <a:extLst>
              <a:ext uri="{FF2B5EF4-FFF2-40B4-BE49-F238E27FC236}">
                <a16:creationId xmlns:a16="http://schemas.microsoft.com/office/drawing/2014/main" id="{8AFB7230-B07E-0EF8-DEB9-34E1EAB2BFA0}"/>
              </a:ext>
            </a:extLst>
          </p:cNvPr>
          <p:cNvSpPr>
            <a:spLocks noGrp="1"/>
          </p:cNvSpPr>
          <p:nvPr>
            <p:ph type="sldNum" sz="quarter" idx="5"/>
          </p:nvPr>
        </p:nvSpPr>
        <p:spPr/>
        <p:txBody>
          <a:bodyPr/>
          <a:lstStyle/>
          <a:p>
            <a:fld id="{074299CD-3469-7241-AD37-C0E01E3A61D2}" type="slidenum">
              <a:rPr lang="en-US" smtClean="0"/>
              <a:pPr/>
              <a:t>81</a:t>
            </a:fld>
            <a:endParaRPr lang="en-US" dirty="0"/>
          </a:p>
        </p:txBody>
      </p:sp>
    </p:spTree>
    <p:extLst>
      <p:ext uri="{BB962C8B-B14F-4D97-AF65-F5344CB8AC3E}">
        <p14:creationId xmlns:p14="http://schemas.microsoft.com/office/powerpoint/2010/main" val="39735493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171450" marR="0" lvl="0" indent="-171450" algn="l" defTabSz="457040" rtl="0" eaLnBrk="1" fontAlgn="auto" latinLnBrk="0" hangingPunct="1">
              <a:lnSpc>
                <a:spcPct val="95000"/>
              </a:lnSpc>
              <a:spcBef>
                <a:spcPts val="0"/>
              </a:spcBef>
              <a:spcAft>
                <a:spcPts val="600"/>
              </a:spcAft>
              <a:buClrTx/>
              <a:buSzTx/>
              <a:buFont typeface="Arial" panose="020B0604020202020204" pitchFamily="34" charset="0"/>
              <a:buChar char="•"/>
              <a:tabLst/>
              <a:defRPr/>
            </a:pPr>
            <a:r>
              <a:rPr lang="en-US" sz="1200" dirty="0"/>
              <a:t>Wizard is available via quick action menu in the “Opportunities that might interest you” section for ongoing maintenance of preference following the initial experience</a:t>
            </a:r>
          </a:p>
        </p:txBody>
      </p:sp>
      <p:sp>
        <p:nvSpPr>
          <p:cNvPr id="4" name="Slide Number Placeholder 3"/>
          <p:cNvSpPr>
            <a:spLocks noGrp="1"/>
          </p:cNvSpPr>
          <p:nvPr>
            <p:ph type="sldNum" sz="quarter" idx="5"/>
          </p:nvPr>
        </p:nvSpPr>
        <p:spPr/>
        <p:txBody>
          <a:bodyPr/>
          <a:lstStyle/>
          <a:p>
            <a:fld id="{074299CD-3469-7241-AD37-C0E01E3A61D2}" type="slidenum">
              <a:rPr lang="en-US" smtClean="0"/>
              <a:pPr/>
              <a:t>82</a:t>
            </a:fld>
            <a:endParaRPr lang="en-US" dirty="0"/>
          </a:p>
        </p:txBody>
      </p:sp>
    </p:spTree>
    <p:extLst>
      <p:ext uri="{BB962C8B-B14F-4D97-AF65-F5344CB8AC3E}">
        <p14:creationId xmlns:p14="http://schemas.microsoft.com/office/powerpoint/2010/main" val="42397185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sz="1400" dirty="0"/>
              <a:t>Opportunity Cards have a “Match analysis” link for employees to view:</a:t>
            </a:r>
          </a:p>
          <a:p>
            <a:pPr lvl="1"/>
            <a:r>
              <a:rPr lang="en-US" sz="1400" dirty="0"/>
              <a:t>Excellent match indicator</a:t>
            </a:r>
          </a:p>
          <a:p>
            <a:pPr lvl="1"/>
            <a:r>
              <a:rPr lang="en-US" sz="1400" dirty="0"/>
              <a:t>Skills where employee meets requirements</a:t>
            </a:r>
          </a:p>
          <a:p>
            <a:pPr lvl="1"/>
            <a:r>
              <a:rPr lang="en-US" sz="1400" dirty="0"/>
              <a:t>Skills where employee may need development</a:t>
            </a:r>
          </a:p>
          <a:p>
            <a:pPr lvl="1"/>
            <a:r>
              <a:rPr lang="en-US" sz="1400" dirty="0"/>
              <a:t>Identification of how opportunity matches the employee’s preferences</a:t>
            </a:r>
          </a:p>
        </p:txBody>
      </p:sp>
      <p:sp>
        <p:nvSpPr>
          <p:cNvPr id="4" name="Slide Number Placeholder 3"/>
          <p:cNvSpPr>
            <a:spLocks noGrp="1"/>
          </p:cNvSpPr>
          <p:nvPr>
            <p:ph type="sldNum" sz="quarter" idx="5"/>
          </p:nvPr>
        </p:nvSpPr>
        <p:spPr/>
        <p:txBody>
          <a:bodyPr/>
          <a:lstStyle/>
          <a:p>
            <a:fld id="{074299CD-3469-7241-AD37-C0E01E3A61D2}" type="slidenum">
              <a:rPr lang="en-US" smtClean="0"/>
              <a:pPr/>
              <a:t>83</a:t>
            </a:fld>
            <a:endParaRPr lang="en-US" dirty="0"/>
          </a:p>
        </p:txBody>
      </p:sp>
    </p:spTree>
    <p:extLst>
      <p:ext uri="{BB962C8B-B14F-4D97-AF65-F5344CB8AC3E}">
        <p14:creationId xmlns:p14="http://schemas.microsoft.com/office/powerpoint/2010/main" val="1133490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11</a:t>
            </a:fld>
            <a:endParaRPr lang="en-US" dirty="0"/>
          </a:p>
        </p:txBody>
      </p:sp>
    </p:spTree>
    <p:extLst>
      <p:ext uri="{BB962C8B-B14F-4D97-AF65-F5344CB8AC3E}">
        <p14:creationId xmlns:p14="http://schemas.microsoft.com/office/powerpoint/2010/main" val="16930133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07988-4294-DE7E-933A-BB7F2D45E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31319E-AE3D-D3D2-67C9-ECDDD2E81E9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ED4A9B7-47C6-48DB-7C0B-B4FE183FF4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0FA0429-CA9B-30EE-BA49-392DB1F80D86}"/>
              </a:ext>
            </a:extLst>
          </p:cNvPr>
          <p:cNvSpPr>
            <a:spLocks noGrp="1"/>
          </p:cNvSpPr>
          <p:nvPr>
            <p:ph type="sldNum" sz="quarter" idx="5"/>
          </p:nvPr>
        </p:nvSpPr>
        <p:spPr/>
        <p:txBody>
          <a:bodyPr/>
          <a:lstStyle/>
          <a:p>
            <a:fld id="{074299CD-3469-7241-AD37-C0E01E3A61D2}" type="slidenum">
              <a:rPr lang="en-US" smtClean="0"/>
              <a:pPr/>
              <a:t>88</a:t>
            </a:fld>
            <a:endParaRPr lang="en-US" dirty="0"/>
          </a:p>
        </p:txBody>
      </p:sp>
    </p:spTree>
    <p:extLst>
      <p:ext uri="{BB962C8B-B14F-4D97-AF65-F5344CB8AC3E}">
        <p14:creationId xmlns:p14="http://schemas.microsoft.com/office/powerpoint/2010/main" val="276771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14</a:t>
            </a:fld>
            <a:endParaRPr lang="en-US" dirty="0"/>
          </a:p>
        </p:txBody>
      </p:sp>
    </p:spTree>
    <p:extLst>
      <p:ext uri="{BB962C8B-B14F-4D97-AF65-F5344CB8AC3E}">
        <p14:creationId xmlns:p14="http://schemas.microsoft.com/office/powerpoint/2010/main" val="2100348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lnSpc>
                <a:spcPct val="100000"/>
              </a:lnSpc>
              <a:spcAft>
                <a:spcPts val="0"/>
              </a:spcAft>
              <a:buNone/>
            </a:pPr>
            <a:r>
              <a:rPr lang="en-US" dirty="0">
                <a:latin typeface="ServiceNow Sans"/>
              </a:rPr>
              <a:t>Discuss how job architecture will be defined, stored, and managed.</a:t>
            </a:r>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17</a:t>
            </a:fld>
            <a:endParaRPr lang="en-US" dirty="0"/>
          </a:p>
        </p:txBody>
      </p:sp>
    </p:spTree>
    <p:extLst>
      <p:ext uri="{BB962C8B-B14F-4D97-AF65-F5344CB8AC3E}">
        <p14:creationId xmlns:p14="http://schemas.microsoft.com/office/powerpoint/2010/main" val="1381171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Rules to archive and delete data within specified time frames can be used instead of purge policies. </a:t>
            </a:r>
            <a:r>
              <a:rPr lang="en-US" sz="1200" b="0" i="0" kern="1200" dirty="0">
                <a:solidFill>
                  <a:schemeClr val="bg1"/>
                </a:solidFill>
                <a:effectLst/>
                <a:latin typeface="ServiceNow Sans" panose="020B0504040101010104" pitchFamily="34" charset="0"/>
                <a:ea typeface="+mn-ea"/>
                <a:cs typeface="ServiceNow Sans" panose="020B0504040101010104" pitchFamily="34" charset="0"/>
              </a:rPr>
              <a:t>Create archive and destroy rules to archive data and delete the archived records.</a:t>
            </a:r>
          </a:p>
        </p:txBody>
      </p:sp>
      <p:sp>
        <p:nvSpPr>
          <p:cNvPr id="4" name="Slide Number Placeholder 3"/>
          <p:cNvSpPr>
            <a:spLocks noGrp="1"/>
          </p:cNvSpPr>
          <p:nvPr>
            <p:ph type="sldNum" sz="quarter" idx="5"/>
          </p:nvPr>
        </p:nvSpPr>
        <p:spPr/>
        <p:txBody>
          <a:bodyPr/>
          <a:lstStyle/>
          <a:p>
            <a:fld id="{074299CD-3469-7241-AD37-C0E01E3A61D2}" type="slidenum">
              <a:rPr lang="en-US" smtClean="0"/>
              <a:pPr/>
              <a:t>19</a:t>
            </a:fld>
            <a:endParaRPr lang="en-US" dirty="0"/>
          </a:p>
        </p:txBody>
      </p:sp>
    </p:spTree>
    <p:extLst>
      <p:ext uri="{BB962C8B-B14F-4D97-AF65-F5344CB8AC3E}">
        <p14:creationId xmlns:p14="http://schemas.microsoft.com/office/powerpoint/2010/main" val="421268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99804-36C1-A74E-5D68-2231A31A5B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4C0314-3195-5E41-AE40-1CDA5F895CA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C395B86-E849-BD54-DF89-B309C249E759}"/>
              </a:ext>
            </a:extLst>
          </p:cNvPr>
          <p:cNvSpPr>
            <a:spLocks noGrp="1"/>
          </p:cNvSpPr>
          <p:nvPr>
            <p:ph type="body" idx="1"/>
          </p:nvPr>
        </p:nvSpPr>
        <p:spPr/>
        <p:txBody>
          <a:bodyPr/>
          <a:lstStyle/>
          <a:p>
            <a:endParaRPr lang="en-US" sz="1200" b="0" i="0" kern="1200" dirty="0">
              <a:solidFill>
                <a:schemeClr val="bg1"/>
              </a:solidFill>
              <a:effectLst/>
              <a:latin typeface="ServiceNow Sans" panose="020B0504040101010104" pitchFamily="34" charset="0"/>
              <a:ea typeface="+mn-ea"/>
              <a:cs typeface="ServiceNow Sans" panose="020B0504040101010104" pitchFamily="34" charset="0"/>
            </a:endParaRPr>
          </a:p>
        </p:txBody>
      </p:sp>
      <p:sp>
        <p:nvSpPr>
          <p:cNvPr id="4" name="Slide Number Placeholder 3">
            <a:extLst>
              <a:ext uri="{FF2B5EF4-FFF2-40B4-BE49-F238E27FC236}">
                <a16:creationId xmlns:a16="http://schemas.microsoft.com/office/drawing/2014/main" id="{F5C8AABD-2F58-8C81-25B5-691531F67B5F}"/>
              </a:ext>
            </a:extLst>
          </p:cNvPr>
          <p:cNvSpPr>
            <a:spLocks noGrp="1"/>
          </p:cNvSpPr>
          <p:nvPr>
            <p:ph type="sldNum" sz="quarter" idx="5"/>
          </p:nvPr>
        </p:nvSpPr>
        <p:spPr/>
        <p:txBody>
          <a:bodyPr/>
          <a:lstStyle/>
          <a:p>
            <a:fld id="{074299CD-3469-7241-AD37-C0E01E3A61D2}" type="slidenum">
              <a:rPr lang="en-US" smtClean="0"/>
              <a:pPr/>
              <a:t>20</a:t>
            </a:fld>
            <a:endParaRPr lang="en-US" dirty="0"/>
          </a:p>
        </p:txBody>
      </p:sp>
    </p:spTree>
    <p:extLst>
      <p:ext uri="{BB962C8B-B14F-4D97-AF65-F5344CB8AC3E}">
        <p14:creationId xmlns:p14="http://schemas.microsoft.com/office/powerpoint/2010/main" val="4180967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buNone/>
            </a:pPr>
            <a:r>
              <a:rPr lang="en-US" dirty="0">
                <a:latin typeface="Calibri"/>
                <a:ea typeface="Calibri"/>
                <a:cs typeface="Calibri"/>
              </a:rPr>
              <a:t>Requirement: Define each talent type that will be used by the organization and the attributes which define each talent type for the role to be assigned</a:t>
            </a:r>
          </a:p>
        </p:txBody>
      </p:sp>
      <p:sp>
        <p:nvSpPr>
          <p:cNvPr id="4" name="Slide Number Placeholder 3"/>
          <p:cNvSpPr>
            <a:spLocks noGrp="1"/>
          </p:cNvSpPr>
          <p:nvPr>
            <p:ph type="sldNum" sz="quarter" idx="5"/>
          </p:nvPr>
        </p:nvSpPr>
        <p:spPr/>
        <p:txBody>
          <a:bodyPr/>
          <a:lstStyle/>
          <a:p>
            <a:fld id="{074299CD-3469-7241-AD37-C0E01E3A61D2}" type="slidenum">
              <a:rPr lang="en-US" smtClean="0"/>
              <a:pPr/>
              <a:t>25</a:t>
            </a:fld>
            <a:endParaRPr lang="en-US" dirty="0"/>
          </a:p>
        </p:txBody>
      </p:sp>
    </p:spTree>
    <p:extLst>
      <p:ext uri="{BB962C8B-B14F-4D97-AF65-F5344CB8AC3E}">
        <p14:creationId xmlns:p14="http://schemas.microsoft.com/office/powerpoint/2010/main" val="652687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074299CD-3469-7241-AD37-C0E01E3A61D2}" type="slidenum">
              <a:rPr lang="en-US" smtClean="0"/>
              <a:pPr/>
              <a:t>28</a:t>
            </a:fld>
            <a:endParaRPr lang="en-US" dirty="0"/>
          </a:p>
        </p:txBody>
      </p:sp>
    </p:spTree>
    <p:extLst>
      <p:ext uri="{BB962C8B-B14F-4D97-AF65-F5344CB8AC3E}">
        <p14:creationId xmlns:p14="http://schemas.microsoft.com/office/powerpoint/2010/main" val="21681246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Green">
    <p:bg>
      <p:bgPr>
        <a:solidFill>
          <a:schemeClr val="bg2"/>
        </a:solidFill>
        <a:effectLst/>
      </p:bgPr>
    </p:bg>
    <p:spTree>
      <p:nvGrpSpPr>
        <p:cNvPr id="1" name=""/>
        <p:cNvGrpSpPr/>
        <p:nvPr/>
      </p:nvGrpSpPr>
      <p:grpSpPr>
        <a:xfrm>
          <a:off x="0" y="0"/>
          <a:ext cx="0" cy="0"/>
          <a:chOff x="0" y="0"/>
          <a:chExt cx="0" cy="0"/>
        </a:xfrm>
      </p:grpSpPr>
      <p:pic>
        <p:nvPicPr>
          <p:cNvPr id="9" name="Picture 8" descr="A blue and green gradient&#10;&#10;AI-generated content may be incorrect.">
            <a:extLst>
              <a:ext uri="{FF2B5EF4-FFF2-40B4-BE49-F238E27FC236}">
                <a16:creationId xmlns:a16="http://schemas.microsoft.com/office/drawing/2014/main" id="{0AC8F0C0-BC4D-C2F8-35BE-5EED1971631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1" name="Graphic 10">
            <a:extLst>
              <a:ext uri="{FF2B5EF4-FFF2-40B4-BE49-F238E27FC236}">
                <a16:creationId xmlns:a16="http://schemas.microsoft.com/office/drawing/2014/main" id="{6A72D853-988D-AAAD-98E7-D50763120BB0}"/>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6" name="Title 4">
            <a:extLst>
              <a:ext uri="{FF2B5EF4-FFF2-40B4-BE49-F238E27FC236}">
                <a16:creationId xmlns:a16="http://schemas.microsoft.com/office/drawing/2014/main" id="{FCCA1862-A1A1-DD00-41B3-A328DAE90086}"/>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7" name="Text Placeholder 49">
            <a:extLst>
              <a:ext uri="{FF2B5EF4-FFF2-40B4-BE49-F238E27FC236}">
                <a16:creationId xmlns:a16="http://schemas.microsoft.com/office/drawing/2014/main" id="{4708FDFD-8AC9-A2DF-1000-39DFE0E90530}"/>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8" name="Text Placeholder 51">
            <a:extLst>
              <a:ext uri="{FF2B5EF4-FFF2-40B4-BE49-F238E27FC236}">
                <a16:creationId xmlns:a16="http://schemas.microsoft.com/office/drawing/2014/main" id="{6495CAC7-B999-B5D9-D1D3-D0EF47E8C9E5}"/>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Tree>
    <p:extLst>
      <p:ext uri="{BB962C8B-B14F-4D97-AF65-F5344CB8AC3E}">
        <p14:creationId xmlns:p14="http://schemas.microsoft.com/office/powerpoint/2010/main" val="423143017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with Subtitle">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799605"/>
            <a:ext cx="4505961" cy="737468"/>
          </a:xfrm>
          <a:prstGeom prst="rect">
            <a:avLst/>
          </a:prstGeom>
        </p:spPr>
        <p:txBody>
          <a:bodyPr lIns="0" tIns="0" rIns="0" bIns="0" anchor="b">
            <a:noAutofit/>
          </a:bodyPr>
          <a:lstStyle>
            <a:lvl1pPr marL="0" indent="0">
              <a:lnSpc>
                <a:spcPct val="90000"/>
              </a:lnSpc>
              <a:spcBef>
                <a:spcPts val="0"/>
              </a:spcBef>
              <a:spcAft>
                <a:spcPts val="200"/>
              </a:spcAft>
              <a:buFontTx/>
              <a:buNone/>
              <a:defRPr sz="18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641848"/>
            <a:ext cx="450596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4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18" name="Subtitle 2">
            <a:extLst>
              <a:ext uri="{FF2B5EF4-FFF2-40B4-BE49-F238E27FC236}">
                <a16:creationId xmlns:a16="http://schemas.microsoft.com/office/drawing/2014/main" id="{B5A9CE4C-6560-8F42-CA7A-AABE423207A6}"/>
              </a:ext>
            </a:extLst>
          </p:cNvPr>
          <p:cNvSpPr>
            <a:spLocks noGrp="1"/>
          </p:cNvSpPr>
          <p:nvPr>
            <p:ph type="subTitle" idx="1"/>
          </p:nvPr>
        </p:nvSpPr>
        <p:spPr>
          <a:xfrm>
            <a:off x="550008" y="4285255"/>
            <a:ext cx="11089323" cy="337546"/>
          </a:xfrm>
          <a:prstGeom prst="rect">
            <a:avLst/>
          </a:prstGeom>
        </p:spPr>
        <p:txBody>
          <a:bodyPr/>
          <a:lstStyle>
            <a:lvl1pPr marL="0" indent="0" algn="l">
              <a:lnSpc>
                <a:spcPct val="90000"/>
              </a:lnSpc>
              <a:buNone/>
              <a:defRPr sz="2400" b="0" i="0">
                <a:solidFill>
                  <a:schemeClr val="bg1"/>
                </a:solidFill>
                <a:latin typeface="ServiceNow Sans Medium"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116306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with Subtitle_Confidential">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799605"/>
            <a:ext cx="4505961" cy="737468"/>
          </a:xfrm>
          <a:prstGeom prst="rect">
            <a:avLst/>
          </a:prstGeom>
        </p:spPr>
        <p:txBody>
          <a:bodyPr lIns="0" tIns="0" rIns="0" bIns="0" anchor="b">
            <a:noAutofit/>
          </a:bodyPr>
          <a:lstStyle>
            <a:lvl1pPr marL="0" indent="0">
              <a:lnSpc>
                <a:spcPct val="90000"/>
              </a:lnSpc>
              <a:spcBef>
                <a:spcPts val="0"/>
              </a:spcBef>
              <a:spcAft>
                <a:spcPts val="200"/>
              </a:spcAft>
              <a:buFontTx/>
              <a:buNone/>
              <a:defRPr sz="18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641848"/>
            <a:ext cx="450596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4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18" name="Subtitle 2">
            <a:extLst>
              <a:ext uri="{FF2B5EF4-FFF2-40B4-BE49-F238E27FC236}">
                <a16:creationId xmlns:a16="http://schemas.microsoft.com/office/drawing/2014/main" id="{B5A9CE4C-6560-8F42-CA7A-AABE423207A6}"/>
              </a:ext>
            </a:extLst>
          </p:cNvPr>
          <p:cNvSpPr>
            <a:spLocks noGrp="1"/>
          </p:cNvSpPr>
          <p:nvPr>
            <p:ph type="subTitle" idx="1"/>
          </p:nvPr>
        </p:nvSpPr>
        <p:spPr>
          <a:xfrm>
            <a:off x="550008" y="4285255"/>
            <a:ext cx="11089323" cy="337546"/>
          </a:xfrm>
          <a:prstGeom prst="rect">
            <a:avLst/>
          </a:prstGeom>
        </p:spPr>
        <p:txBody>
          <a:bodyPr/>
          <a:lstStyle>
            <a:lvl1pPr marL="0" indent="0" algn="l">
              <a:lnSpc>
                <a:spcPct val="90000"/>
              </a:lnSpc>
              <a:buNone/>
              <a:defRPr sz="2400" b="0" i="0">
                <a:solidFill>
                  <a:schemeClr val="bg1"/>
                </a:solidFill>
                <a:latin typeface="ServiceNow Sans Medium"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75E44038-3D01-1AD9-0428-EA70DD4F7B2F}"/>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dirty="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38673953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426570CD-46A2-132F-F02E-1600C115ECA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6" name="Title 5">
            <a:extLst>
              <a:ext uri="{FF2B5EF4-FFF2-40B4-BE49-F238E27FC236}">
                <a16:creationId xmlns:a16="http://schemas.microsoft.com/office/drawing/2014/main" id="{E262DFF5-1404-0C6A-FF51-4932C17F84AB}"/>
              </a:ext>
            </a:extLst>
          </p:cNvPr>
          <p:cNvSpPr>
            <a:spLocks noGrp="1"/>
          </p:cNvSpPr>
          <p:nvPr>
            <p:ph type="title"/>
          </p:nvPr>
        </p:nvSpPr>
        <p:spPr>
          <a:xfrm>
            <a:off x="548640" y="530352"/>
            <a:ext cx="11082973" cy="1304863"/>
          </a:xfrm>
        </p:spPr>
        <p:txBody>
          <a:bodyPr/>
          <a:lstStyle>
            <a:lvl1pPr marL="0" algn="l" defTabSz="914400" rtl="0" eaLnBrk="1" latinLnBrk="0" hangingPunct="1">
              <a:lnSpc>
                <a:spcPct val="85000"/>
              </a:lnSpc>
              <a:spcBef>
                <a:spcPct val="0"/>
              </a:spcBef>
              <a:buNone/>
              <a:defRPr lang="en-US" sz="4000" b="1" i="0" kern="1200" spc="0" baseline="0" dirty="0">
                <a:solidFill>
                  <a:schemeClr val="bg1"/>
                </a:solidFill>
                <a:latin typeface="+mj-lt"/>
                <a:ea typeface="+mj-ea"/>
                <a:cs typeface="ServiceNow Sans Display Bold" panose="020B0504040101010104" pitchFamily="34" charset="77"/>
              </a:defRPr>
            </a:lvl1pPr>
          </a:lstStyle>
          <a:p>
            <a:endParaRPr lang="en-US"/>
          </a:p>
        </p:txBody>
      </p:sp>
      <p:pic>
        <p:nvPicPr>
          <p:cNvPr id="5" name="Picture 15">
            <a:extLst>
              <a:ext uri="{FF2B5EF4-FFF2-40B4-BE49-F238E27FC236}">
                <a16:creationId xmlns:a16="http://schemas.microsoft.com/office/drawing/2014/main" id="{6E69A9D9-1C98-2197-D9B4-B9C547E76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BFA29C7A-B1AE-8891-ED91-E4AFA3B4AE5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3" name="Picture 2">
            <a:extLst>
              <a:ext uri="{FF2B5EF4-FFF2-40B4-BE49-F238E27FC236}">
                <a16:creationId xmlns:a16="http://schemas.microsoft.com/office/drawing/2014/main" id="{A555CE8E-F8AC-748F-04FD-187E7A05919E}"/>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3912273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Subtitle">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26518D85-6842-C7A1-8213-93232E2CE473}"/>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5">
            <a:extLst>
              <a:ext uri="{FF2B5EF4-FFF2-40B4-BE49-F238E27FC236}">
                <a16:creationId xmlns:a16="http://schemas.microsoft.com/office/drawing/2014/main" id="{233C28E9-77FE-F84E-09CD-A6DD572E35A7}"/>
              </a:ext>
            </a:extLst>
          </p:cNvPr>
          <p:cNvSpPr>
            <a:spLocks noGrp="1"/>
          </p:cNvSpPr>
          <p:nvPr>
            <p:ph type="title"/>
          </p:nvPr>
        </p:nvSpPr>
        <p:spPr>
          <a:xfrm>
            <a:off x="548640" y="530352"/>
            <a:ext cx="11082973" cy="594360"/>
          </a:xfrm>
        </p:spPr>
        <p:txBody>
          <a:bodyPr/>
          <a:lstStyle>
            <a:lvl1pPr>
              <a:defRPr b="1" i="0">
                <a:solidFill>
                  <a:schemeClr val="bg1"/>
                </a:solidFill>
                <a:latin typeface="+mj-lt"/>
                <a:cs typeface="ServiceNow Sans Display Bold" panose="020B0504040101010104" pitchFamily="34" charset="77"/>
              </a:defRPr>
            </a:lvl1pPr>
          </a:lstStyle>
          <a:p>
            <a:endParaRPr lang="en-US"/>
          </a:p>
        </p:txBody>
      </p:sp>
      <p:sp>
        <p:nvSpPr>
          <p:cNvPr id="4" name="Subtitle 2">
            <a:extLst>
              <a:ext uri="{FF2B5EF4-FFF2-40B4-BE49-F238E27FC236}">
                <a16:creationId xmlns:a16="http://schemas.microsoft.com/office/drawing/2014/main" id="{AAD0785D-E493-828F-0904-70EE36464C4E}"/>
              </a:ext>
            </a:extLst>
          </p:cNvPr>
          <p:cNvSpPr>
            <a:spLocks noGrp="1"/>
          </p:cNvSpPr>
          <p:nvPr>
            <p:ph type="subTitle" idx="1"/>
          </p:nvPr>
        </p:nvSpPr>
        <p:spPr>
          <a:xfrm>
            <a:off x="548639" y="1097280"/>
            <a:ext cx="11091545"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15">
            <a:extLst>
              <a:ext uri="{FF2B5EF4-FFF2-40B4-BE49-F238E27FC236}">
                <a16:creationId xmlns:a16="http://schemas.microsoft.com/office/drawing/2014/main" id="{BD68D6C5-6FA4-F7AE-B09B-EF7682601D3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9A698FF4-6C4D-06ED-B374-625462A63AB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8C532FC9-95E2-7D7E-A7C3-EDB4FEFAC210}"/>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5754308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Line Title with Subtitle">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97978C9B-ECD1-4C62-8696-0D7363CE9D0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5">
            <a:extLst>
              <a:ext uri="{FF2B5EF4-FFF2-40B4-BE49-F238E27FC236}">
                <a16:creationId xmlns:a16="http://schemas.microsoft.com/office/drawing/2014/main" id="{233C28E9-77FE-F84E-09CD-A6DD572E35A7}"/>
              </a:ext>
            </a:extLst>
          </p:cNvPr>
          <p:cNvSpPr>
            <a:spLocks noGrp="1"/>
          </p:cNvSpPr>
          <p:nvPr>
            <p:ph type="title"/>
          </p:nvPr>
        </p:nvSpPr>
        <p:spPr>
          <a:xfrm>
            <a:off x="548640" y="467542"/>
            <a:ext cx="11082973" cy="1097280"/>
          </a:xfrm>
        </p:spPr>
        <p:txBody>
          <a:bodyPr anchor="b"/>
          <a:lstStyle>
            <a:lvl1pPr>
              <a:defRPr b="1" i="0">
                <a:solidFill>
                  <a:schemeClr val="bg1"/>
                </a:solidFill>
                <a:latin typeface="+mj-lt"/>
                <a:cs typeface="ServiceNow Sans Display Bold" panose="020B0504040101010104" pitchFamily="34" charset="77"/>
              </a:defRPr>
            </a:lvl1pPr>
          </a:lstStyle>
          <a:p>
            <a:endParaRPr lang="en-US"/>
          </a:p>
        </p:txBody>
      </p:sp>
      <p:sp>
        <p:nvSpPr>
          <p:cNvPr id="4" name="Subtitle 2">
            <a:extLst>
              <a:ext uri="{FF2B5EF4-FFF2-40B4-BE49-F238E27FC236}">
                <a16:creationId xmlns:a16="http://schemas.microsoft.com/office/drawing/2014/main" id="{F800E7A3-A3E3-574B-197A-2249D5E421C2}"/>
              </a:ext>
            </a:extLst>
          </p:cNvPr>
          <p:cNvSpPr>
            <a:spLocks noGrp="1"/>
          </p:cNvSpPr>
          <p:nvPr>
            <p:ph type="subTitle" idx="1"/>
          </p:nvPr>
        </p:nvSpPr>
        <p:spPr>
          <a:xfrm>
            <a:off x="548640" y="1613025"/>
            <a:ext cx="11091545" cy="88437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15">
            <a:extLst>
              <a:ext uri="{FF2B5EF4-FFF2-40B4-BE49-F238E27FC236}">
                <a16:creationId xmlns:a16="http://schemas.microsoft.com/office/drawing/2014/main" id="{94080AC9-553A-C587-A540-A35F7640844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8995C354-68D1-21D7-47A9-9DFFDA892257}"/>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184A3DF6-4D07-391D-F120-F527E15B248A}"/>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6966579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6BEDE41D-8998-F143-2982-3FE8EC3D21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9728B499-FBEC-A849-6D57-93159E12BACC}"/>
              </a:ext>
            </a:extLst>
          </p:cNvPr>
          <p:cNvSpPr>
            <a:spLocks noGrp="1"/>
          </p:cNvSpPr>
          <p:nvPr>
            <p:ph type="title"/>
          </p:nvPr>
        </p:nvSpPr>
        <p:spPr>
          <a:xfrm>
            <a:off x="548640" y="530352"/>
            <a:ext cx="11082973" cy="594360"/>
          </a:xfrm>
        </p:spPr>
        <p:txBody>
          <a:bodyPr/>
          <a:lstStyle>
            <a:lvl1pPr>
              <a:defRPr>
                <a:solidFill>
                  <a:schemeClr val="bg1"/>
                </a:solidFill>
              </a:defRPr>
            </a:lvl1pPr>
          </a:lstStyle>
          <a:p>
            <a:endParaRPr lang="en-US"/>
          </a:p>
        </p:txBody>
      </p:sp>
      <p:sp>
        <p:nvSpPr>
          <p:cNvPr id="5" name="Subtitle 2">
            <a:extLst>
              <a:ext uri="{FF2B5EF4-FFF2-40B4-BE49-F238E27FC236}">
                <a16:creationId xmlns:a16="http://schemas.microsoft.com/office/drawing/2014/main" id="{46B109A9-0359-2628-7802-3635EE3335A8}"/>
              </a:ext>
            </a:extLst>
          </p:cNvPr>
          <p:cNvSpPr>
            <a:spLocks noGrp="1"/>
          </p:cNvSpPr>
          <p:nvPr>
            <p:ph type="subTitle" idx="13"/>
          </p:nvPr>
        </p:nvSpPr>
        <p:spPr>
          <a:xfrm>
            <a:off x="548640" y="1097280"/>
            <a:ext cx="11088688"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C923854-F3D1-E74C-8BA3-4B3D17DE54B7}"/>
              </a:ext>
            </a:extLst>
          </p:cNvPr>
          <p:cNvSpPr>
            <a:spLocks noGrp="1"/>
          </p:cNvSpPr>
          <p:nvPr>
            <p:ph type="body" sz="quarter" idx="16"/>
          </p:nvPr>
        </p:nvSpPr>
        <p:spPr>
          <a:xfrm>
            <a:off x="544830" y="1955800"/>
            <a:ext cx="11088688" cy="4270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15">
            <a:extLst>
              <a:ext uri="{FF2B5EF4-FFF2-40B4-BE49-F238E27FC236}">
                <a16:creationId xmlns:a16="http://schemas.microsoft.com/office/drawing/2014/main" id="{393D3C88-F974-9020-5F44-0A8B84DC9A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C364D38E-F640-7415-44F5-E3029466511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3" name="Picture 2">
            <a:extLst>
              <a:ext uri="{FF2B5EF4-FFF2-40B4-BE49-F238E27FC236}">
                <a16:creationId xmlns:a16="http://schemas.microsoft.com/office/drawing/2014/main" id="{78C8C218-E85D-B06E-1243-062369D913F2}"/>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13440998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Line Title and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68760F1C-506A-C9CB-3E9D-ABF6153AC219}"/>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3" name="Title 5">
            <a:extLst>
              <a:ext uri="{FF2B5EF4-FFF2-40B4-BE49-F238E27FC236}">
                <a16:creationId xmlns:a16="http://schemas.microsoft.com/office/drawing/2014/main" id="{EC61A46E-884A-8D26-FD76-AC5B1A1454B6}"/>
              </a:ext>
            </a:extLst>
          </p:cNvPr>
          <p:cNvSpPr>
            <a:spLocks noGrp="1"/>
          </p:cNvSpPr>
          <p:nvPr>
            <p:ph type="title"/>
          </p:nvPr>
        </p:nvSpPr>
        <p:spPr>
          <a:xfrm>
            <a:off x="548640" y="467433"/>
            <a:ext cx="11082973" cy="1097280"/>
          </a:xfrm>
        </p:spPr>
        <p:txBody>
          <a:bodyPr anchor="b"/>
          <a:lstStyle>
            <a:lvl1pPr>
              <a:lnSpc>
                <a:spcPct val="85000"/>
              </a:lnSpc>
              <a:defRPr b="1" i="0">
                <a:solidFill>
                  <a:schemeClr val="bg1"/>
                </a:solidFill>
                <a:latin typeface="+mj-lt"/>
                <a:cs typeface="ServiceNow Sans Display Bold" panose="020B0504040101010104" pitchFamily="34" charset="77"/>
              </a:defRPr>
            </a:lvl1pPr>
          </a:lstStyle>
          <a:p>
            <a:endParaRPr lang="en-US"/>
          </a:p>
        </p:txBody>
      </p:sp>
      <p:sp>
        <p:nvSpPr>
          <p:cNvPr id="9" name="Subtitle 2">
            <a:extLst>
              <a:ext uri="{FF2B5EF4-FFF2-40B4-BE49-F238E27FC236}">
                <a16:creationId xmlns:a16="http://schemas.microsoft.com/office/drawing/2014/main" id="{983BD02E-6BA6-4D80-8E69-757339FF011D}"/>
              </a:ext>
            </a:extLst>
          </p:cNvPr>
          <p:cNvSpPr>
            <a:spLocks noGrp="1"/>
          </p:cNvSpPr>
          <p:nvPr>
            <p:ph type="subTitle" idx="1"/>
          </p:nvPr>
        </p:nvSpPr>
        <p:spPr>
          <a:xfrm>
            <a:off x="548640" y="1613270"/>
            <a:ext cx="11091545" cy="884133"/>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9">
            <a:extLst>
              <a:ext uri="{FF2B5EF4-FFF2-40B4-BE49-F238E27FC236}">
                <a16:creationId xmlns:a16="http://schemas.microsoft.com/office/drawing/2014/main" id="{98162082-35C0-BA96-D1D6-5F82D9853B34}"/>
              </a:ext>
            </a:extLst>
          </p:cNvPr>
          <p:cNvSpPr>
            <a:spLocks noGrp="1"/>
          </p:cNvSpPr>
          <p:nvPr>
            <p:ph type="body" sz="quarter" idx="14"/>
          </p:nvPr>
        </p:nvSpPr>
        <p:spPr>
          <a:xfrm>
            <a:off x="546100" y="2665413"/>
            <a:ext cx="11082528" cy="352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15">
            <a:extLst>
              <a:ext uri="{FF2B5EF4-FFF2-40B4-BE49-F238E27FC236}">
                <a16:creationId xmlns:a16="http://schemas.microsoft.com/office/drawing/2014/main" id="{95F0D041-3B0D-B19A-0403-A025C46DFE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3712434-6291-B9AC-CB7A-9C9FDBB0C32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4" name="Picture 3">
            <a:extLst>
              <a:ext uri="{FF2B5EF4-FFF2-40B4-BE49-F238E27FC236}">
                <a16:creationId xmlns:a16="http://schemas.microsoft.com/office/drawing/2014/main" id="{0BDE19CE-230C-CB13-1694-83AD77DDB015}"/>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0127577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Two Columns and Header">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F6F0A126-DD18-369C-8676-3CE65587F8C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16">
            <a:extLst>
              <a:ext uri="{FF2B5EF4-FFF2-40B4-BE49-F238E27FC236}">
                <a16:creationId xmlns:a16="http://schemas.microsoft.com/office/drawing/2014/main" id="{90053C93-812E-7EA4-9F24-6CCA282BC8F7}"/>
              </a:ext>
              <a:ext uri="{C183D7F6-B498-43B3-948B-1728B52AA6E4}">
                <adec:decorative xmlns:adec="http://schemas.microsoft.com/office/drawing/2017/decorative" val="1"/>
              </a:ext>
            </a:extLst>
          </p:cNvPr>
          <p:cNvSpPr/>
          <p:nvPr userDrawn="1"/>
        </p:nvSpPr>
        <p:spPr>
          <a:xfrm>
            <a:off x="6188076" y="1798638"/>
            <a:ext cx="5448300"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2" name="Rounded Rectangle 16">
            <a:extLst>
              <a:ext uri="{FF2B5EF4-FFF2-40B4-BE49-F238E27FC236}">
                <a16:creationId xmlns:a16="http://schemas.microsoft.com/office/drawing/2014/main" id="{4FA5BBAA-78A1-A5B7-4B31-31DF74E06144}"/>
              </a:ext>
              <a:ext uri="{C183D7F6-B498-43B3-948B-1728B52AA6E4}">
                <adec:decorative xmlns:adec="http://schemas.microsoft.com/office/drawing/2017/decorative" val="1"/>
              </a:ext>
            </a:extLst>
          </p:cNvPr>
          <p:cNvSpPr/>
          <p:nvPr userDrawn="1"/>
        </p:nvSpPr>
        <p:spPr>
          <a:xfrm>
            <a:off x="549275" y="1798638"/>
            <a:ext cx="5459413"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600" dirty="0">
              <a:solidFill>
                <a:schemeClr val="tx1"/>
              </a:solidFill>
            </a:endParaRPr>
          </a:p>
        </p:txBody>
      </p:sp>
      <p:sp>
        <p:nvSpPr>
          <p:cNvPr id="6" name="Title Placeholder 1">
            <a:extLst>
              <a:ext uri="{FF2B5EF4-FFF2-40B4-BE49-F238E27FC236}">
                <a16:creationId xmlns:a16="http://schemas.microsoft.com/office/drawing/2014/main" id="{FEA07CD8-A738-790B-DF20-318B008F21F5}"/>
              </a:ext>
            </a:extLst>
          </p:cNvPr>
          <p:cNvSpPr>
            <a:spLocks noGrp="1"/>
          </p:cNvSpPr>
          <p:nvPr>
            <p:ph type="title"/>
          </p:nvPr>
        </p:nvSpPr>
        <p:spPr>
          <a:xfrm>
            <a:off x="548640" y="530352"/>
            <a:ext cx="11089323" cy="594360"/>
          </a:xfrm>
          <a:prstGeom prst="rect">
            <a:avLst/>
          </a:prstGeom>
        </p:spPr>
        <p:txBody>
          <a:bodyPr vert="horz" lIns="0" tIns="0" rIns="0" bIns="0" rtlCol="0" anchor="t" anchorCtr="0">
            <a:noAutofit/>
          </a:bodyPr>
          <a:lstStyle>
            <a:lvl1pPr>
              <a:defRPr>
                <a:solidFill>
                  <a:schemeClr val="bg1"/>
                </a:solidFill>
              </a:defRPr>
            </a:lvl1pPr>
          </a:lstStyle>
          <a:p>
            <a:pPr lvl="0"/>
            <a:endParaRPr lang="en-US"/>
          </a:p>
        </p:txBody>
      </p:sp>
      <p:sp>
        <p:nvSpPr>
          <p:cNvPr id="8" name="Subtitle 2">
            <a:extLst>
              <a:ext uri="{FF2B5EF4-FFF2-40B4-BE49-F238E27FC236}">
                <a16:creationId xmlns:a16="http://schemas.microsoft.com/office/drawing/2014/main" id="{90E870A4-D85E-0EF0-81C4-99BAA592BF2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15">
            <a:extLst>
              <a:ext uri="{FF2B5EF4-FFF2-40B4-BE49-F238E27FC236}">
                <a16:creationId xmlns:a16="http://schemas.microsoft.com/office/drawing/2014/main" id="{9FB00DDF-A252-A1A5-A41A-FF1F52A544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AF60FB31-CCE6-7C5A-7F16-EF5C9337F1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
        <p:nvSpPr>
          <p:cNvPr id="13" name="Text Placeholder 12">
            <a:extLst>
              <a:ext uri="{FF2B5EF4-FFF2-40B4-BE49-F238E27FC236}">
                <a16:creationId xmlns:a16="http://schemas.microsoft.com/office/drawing/2014/main" id="{DF6DDC21-C9C3-733D-3C79-628CFFD150F1}"/>
              </a:ext>
            </a:extLst>
          </p:cNvPr>
          <p:cNvSpPr>
            <a:spLocks noGrp="1"/>
          </p:cNvSpPr>
          <p:nvPr>
            <p:ph type="body" sz="quarter" idx="16"/>
          </p:nvPr>
        </p:nvSpPr>
        <p:spPr>
          <a:xfrm>
            <a:off x="5492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5" name="Text Placeholder 12">
            <a:extLst>
              <a:ext uri="{FF2B5EF4-FFF2-40B4-BE49-F238E27FC236}">
                <a16:creationId xmlns:a16="http://schemas.microsoft.com/office/drawing/2014/main" id="{30078DC1-A1BA-16FE-AF0E-05265CE8E466}"/>
              </a:ext>
            </a:extLst>
          </p:cNvPr>
          <p:cNvSpPr>
            <a:spLocks noGrp="1"/>
          </p:cNvSpPr>
          <p:nvPr>
            <p:ph type="body" sz="quarter" idx="17"/>
          </p:nvPr>
        </p:nvSpPr>
        <p:spPr>
          <a:xfrm>
            <a:off x="61880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1" name="Text Placeholder 10">
            <a:extLst>
              <a:ext uri="{FF2B5EF4-FFF2-40B4-BE49-F238E27FC236}">
                <a16:creationId xmlns:a16="http://schemas.microsoft.com/office/drawing/2014/main" id="{486D02FD-E267-2133-5F8E-DE68BD8D9E17}"/>
              </a:ext>
            </a:extLst>
          </p:cNvPr>
          <p:cNvSpPr>
            <a:spLocks noGrp="1"/>
          </p:cNvSpPr>
          <p:nvPr>
            <p:ph type="body" sz="quarter" idx="18"/>
          </p:nvPr>
        </p:nvSpPr>
        <p:spPr>
          <a:xfrm>
            <a:off x="549275" y="2667000"/>
            <a:ext cx="5456239"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B022A3-1256-6665-C93B-1D24DAAAF271}"/>
              </a:ext>
            </a:extLst>
          </p:cNvPr>
          <p:cNvSpPr>
            <a:spLocks noGrp="1"/>
          </p:cNvSpPr>
          <p:nvPr>
            <p:ph type="body" sz="quarter" idx="19"/>
          </p:nvPr>
        </p:nvSpPr>
        <p:spPr>
          <a:xfrm>
            <a:off x="6188075" y="2667000"/>
            <a:ext cx="5458968"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622590DA-7447-52D3-5B8C-46F85B60C57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8576021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Three Columns and Headers">
    <p:bg>
      <p:bgPr>
        <a:solidFill>
          <a:schemeClr val="bg2"/>
        </a:solidFill>
        <a:effectLst/>
      </p:bgPr>
    </p:bg>
    <p:spTree>
      <p:nvGrpSpPr>
        <p:cNvPr id="1" name=""/>
        <p:cNvGrpSpPr/>
        <p:nvPr/>
      </p:nvGrpSpPr>
      <p:grpSpPr>
        <a:xfrm>
          <a:off x="0" y="0"/>
          <a:ext cx="0" cy="0"/>
          <a:chOff x="0" y="0"/>
          <a:chExt cx="0" cy="0"/>
        </a:xfrm>
      </p:grpSpPr>
      <p:pic>
        <p:nvPicPr>
          <p:cNvPr id="6" name="Picture 5" descr="A blue and green background&#10;&#10;AI-generated content may be incorrect.">
            <a:extLst>
              <a:ext uri="{FF2B5EF4-FFF2-40B4-BE49-F238E27FC236}">
                <a16:creationId xmlns:a16="http://schemas.microsoft.com/office/drawing/2014/main" id="{9B196B0D-18BB-6445-C48F-4B574563AB2B}"/>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16">
            <a:extLst>
              <a:ext uri="{FF2B5EF4-FFF2-40B4-BE49-F238E27FC236}">
                <a16:creationId xmlns:a16="http://schemas.microsoft.com/office/drawing/2014/main" id="{06C7E3B2-CBEA-773A-50C9-FB620F0A0556}"/>
              </a:ext>
              <a:ext uri="{C183D7F6-B498-43B3-948B-1728B52AA6E4}">
                <adec:decorative xmlns:adec="http://schemas.microsoft.com/office/drawing/2017/decorative" val="1"/>
              </a:ext>
            </a:extLst>
          </p:cNvPr>
          <p:cNvSpPr/>
          <p:nvPr userDrawn="1"/>
        </p:nvSpPr>
        <p:spPr>
          <a:xfrm>
            <a:off x="549275" y="1798638"/>
            <a:ext cx="3563938" cy="4386262"/>
          </a:xfrm>
          <a:prstGeom prst="roundRect">
            <a:avLst>
              <a:gd name="adj" fmla="val 384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4" name="Rounded Rectangle 16">
            <a:extLst>
              <a:ext uri="{FF2B5EF4-FFF2-40B4-BE49-F238E27FC236}">
                <a16:creationId xmlns:a16="http://schemas.microsoft.com/office/drawing/2014/main" id="{AF118AF6-C330-0FC1-6F2F-8DE85894A8B9}"/>
              </a:ext>
              <a:ext uri="{C183D7F6-B498-43B3-948B-1728B52AA6E4}">
                <adec:decorative xmlns:adec="http://schemas.microsoft.com/office/drawing/2017/decorative" val="1"/>
              </a:ext>
            </a:extLst>
          </p:cNvPr>
          <p:cNvSpPr/>
          <p:nvPr userDrawn="1"/>
        </p:nvSpPr>
        <p:spPr>
          <a:xfrm>
            <a:off x="4308474" y="1798638"/>
            <a:ext cx="3573463"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5" name="Rounded Rectangle 16">
            <a:extLst>
              <a:ext uri="{FF2B5EF4-FFF2-40B4-BE49-F238E27FC236}">
                <a16:creationId xmlns:a16="http://schemas.microsoft.com/office/drawing/2014/main" id="{FEE23BE6-B055-BBE2-C4DA-B094786EF884}"/>
              </a:ext>
              <a:ext uri="{C183D7F6-B498-43B3-948B-1728B52AA6E4}">
                <adec:decorative xmlns:adec="http://schemas.microsoft.com/office/drawing/2017/decorative" val="1"/>
              </a:ext>
            </a:extLst>
          </p:cNvPr>
          <p:cNvSpPr/>
          <p:nvPr userDrawn="1"/>
        </p:nvSpPr>
        <p:spPr>
          <a:xfrm>
            <a:off x="8062914" y="1798638"/>
            <a:ext cx="3573461"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a:solidFill>
                  <a:schemeClr val="bg1"/>
                </a:solidFill>
              </a:defRPr>
            </a:lvl1pPr>
          </a:lstStyle>
          <a:p>
            <a:pPr lvl="0"/>
            <a:endParaRPr lang="en-US"/>
          </a:p>
        </p:txBody>
      </p:sp>
      <p:sp>
        <p:nvSpPr>
          <p:cNvPr id="3" name="Subtitle 2">
            <a:extLst>
              <a:ext uri="{FF2B5EF4-FFF2-40B4-BE49-F238E27FC236}">
                <a16:creationId xmlns:a16="http://schemas.microsoft.com/office/drawing/2014/main" id="{F775094D-6517-6233-057C-EDD74B7232B8}"/>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0">
            <a:extLst>
              <a:ext uri="{FF2B5EF4-FFF2-40B4-BE49-F238E27FC236}">
                <a16:creationId xmlns:a16="http://schemas.microsoft.com/office/drawing/2014/main" id="{12CE1430-DD33-F50F-4D33-9107A98F2092}"/>
              </a:ext>
            </a:extLst>
          </p:cNvPr>
          <p:cNvSpPr>
            <a:spLocks noGrp="1"/>
          </p:cNvSpPr>
          <p:nvPr>
            <p:ph type="body" sz="quarter" idx="22"/>
          </p:nvPr>
        </p:nvSpPr>
        <p:spPr>
          <a:xfrm>
            <a:off x="549275"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0">
            <a:extLst>
              <a:ext uri="{FF2B5EF4-FFF2-40B4-BE49-F238E27FC236}">
                <a16:creationId xmlns:a16="http://schemas.microsoft.com/office/drawing/2014/main" id="{D8ECF9C0-FFC1-0568-E29D-B20AA430200E}"/>
              </a:ext>
            </a:extLst>
          </p:cNvPr>
          <p:cNvSpPr>
            <a:spLocks noGrp="1"/>
          </p:cNvSpPr>
          <p:nvPr>
            <p:ph type="body" sz="quarter" idx="23"/>
          </p:nvPr>
        </p:nvSpPr>
        <p:spPr>
          <a:xfrm>
            <a:off x="4308473"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0">
            <a:extLst>
              <a:ext uri="{FF2B5EF4-FFF2-40B4-BE49-F238E27FC236}">
                <a16:creationId xmlns:a16="http://schemas.microsoft.com/office/drawing/2014/main" id="{32DE1228-F4B2-3DFB-20A5-DD9382B74D31}"/>
              </a:ext>
            </a:extLst>
          </p:cNvPr>
          <p:cNvSpPr>
            <a:spLocks noGrp="1"/>
          </p:cNvSpPr>
          <p:nvPr>
            <p:ph type="body" sz="quarter" idx="24"/>
          </p:nvPr>
        </p:nvSpPr>
        <p:spPr>
          <a:xfrm>
            <a:off x="8062915"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15">
            <a:extLst>
              <a:ext uri="{FF2B5EF4-FFF2-40B4-BE49-F238E27FC236}">
                <a16:creationId xmlns:a16="http://schemas.microsoft.com/office/drawing/2014/main" id="{F5855F01-6892-A0BA-D2BB-28E4C2D5FF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76E97354-2574-D163-9FDB-44A096476E2F}"/>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
        <p:nvSpPr>
          <p:cNvPr id="10" name="Text Placeholder 12">
            <a:extLst>
              <a:ext uri="{FF2B5EF4-FFF2-40B4-BE49-F238E27FC236}">
                <a16:creationId xmlns:a16="http://schemas.microsoft.com/office/drawing/2014/main" id="{A0E41662-8500-013C-FF11-4052EF680865}"/>
              </a:ext>
            </a:extLst>
          </p:cNvPr>
          <p:cNvSpPr>
            <a:spLocks noGrp="1"/>
          </p:cNvSpPr>
          <p:nvPr>
            <p:ph type="body" sz="quarter" idx="16"/>
          </p:nvPr>
        </p:nvSpPr>
        <p:spPr>
          <a:xfrm>
            <a:off x="549276"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1" name="Text Placeholder 12">
            <a:extLst>
              <a:ext uri="{FF2B5EF4-FFF2-40B4-BE49-F238E27FC236}">
                <a16:creationId xmlns:a16="http://schemas.microsoft.com/office/drawing/2014/main" id="{5F8DAFE9-52D4-B7E4-A26D-478DDE9939D9}"/>
              </a:ext>
            </a:extLst>
          </p:cNvPr>
          <p:cNvSpPr>
            <a:spLocks noGrp="1"/>
          </p:cNvSpPr>
          <p:nvPr>
            <p:ph type="body" sz="quarter" idx="20"/>
          </p:nvPr>
        </p:nvSpPr>
        <p:spPr>
          <a:xfrm>
            <a:off x="4308474"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3" name="Text Placeholder 12">
            <a:extLst>
              <a:ext uri="{FF2B5EF4-FFF2-40B4-BE49-F238E27FC236}">
                <a16:creationId xmlns:a16="http://schemas.microsoft.com/office/drawing/2014/main" id="{77196B97-43E1-0EEF-78A3-03A8D4B90CF4}"/>
              </a:ext>
            </a:extLst>
          </p:cNvPr>
          <p:cNvSpPr>
            <a:spLocks noGrp="1"/>
          </p:cNvSpPr>
          <p:nvPr>
            <p:ph type="body" sz="quarter" idx="21"/>
          </p:nvPr>
        </p:nvSpPr>
        <p:spPr>
          <a:xfrm>
            <a:off x="8062915"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a:t>
            </a:r>
          </a:p>
        </p:txBody>
      </p:sp>
      <p:pic>
        <p:nvPicPr>
          <p:cNvPr id="7" name="Picture 6">
            <a:extLst>
              <a:ext uri="{FF2B5EF4-FFF2-40B4-BE49-F238E27FC236}">
                <a16:creationId xmlns:a16="http://schemas.microsoft.com/office/drawing/2014/main" id="{9D8571A2-7E94-0D20-13D0-5D8B318B59F7}"/>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13476827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Four Columns and Headers">
    <p:bg>
      <p:bgPr>
        <a:solidFill>
          <a:schemeClr val="bg2"/>
        </a:solidFill>
        <a:effectLst/>
      </p:bgPr>
    </p:bg>
    <p:spTree>
      <p:nvGrpSpPr>
        <p:cNvPr id="1" name=""/>
        <p:cNvGrpSpPr/>
        <p:nvPr/>
      </p:nvGrpSpPr>
      <p:grpSpPr>
        <a:xfrm>
          <a:off x="0" y="0"/>
          <a:ext cx="0" cy="0"/>
          <a:chOff x="0" y="0"/>
          <a:chExt cx="0" cy="0"/>
        </a:xfrm>
      </p:grpSpPr>
      <p:pic>
        <p:nvPicPr>
          <p:cNvPr id="5" name="Picture 4" descr="A blue and green background&#10;&#10;AI-generated content may be incorrect.">
            <a:extLst>
              <a:ext uri="{FF2B5EF4-FFF2-40B4-BE49-F238E27FC236}">
                <a16:creationId xmlns:a16="http://schemas.microsoft.com/office/drawing/2014/main" id="{79BFB504-CB91-C31E-190E-A37053FE4FBF}"/>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sp>
        <p:nvSpPr>
          <p:cNvPr id="2" name="Rounded Rectangle 16">
            <a:extLst>
              <a:ext uri="{FF2B5EF4-FFF2-40B4-BE49-F238E27FC236}">
                <a16:creationId xmlns:a16="http://schemas.microsoft.com/office/drawing/2014/main" id="{3EE8CBDC-EB06-2158-179E-1BF0DD317613}"/>
              </a:ext>
              <a:ext uri="{C183D7F6-B498-43B3-948B-1728B52AA6E4}">
                <adec:decorative xmlns:adec="http://schemas.microsoft.com/office/drawing/2017/decorative" val="1"/>
              </a:ext>
            </a:extLst>
          </p:cNvPr>
          <p:cNvSpPr/>
          <p:nvPr userDrawn="1"/>
        </p:nvSpPr>
        <p:spPr>
          <a:xfrm>
            <a:off x="5492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6" name="Rounded Rectangle 16">
            <a:extLst>
              <a:ext uri="{FF2B5EF4-FFF2-40B4-BE49-F238E27FC236}">
                <a16:creationId xmlns:a16="http://schemas.microsoft.com/office/drawing/2014/main" id="{15F938E9-E97B-BD50-2F3E-545AEFFF8F76}"/>
              </a:ext>
              <a:ext uri="{C183D7F6-B498-43B3-948B-1728B52AA6E4}">
                <adec:decorative xmlns:adec="http://schemas.microsoft.com/office/drawing/2017/decorative" val="1"/>
              </a:ext>
            </a:extLst>
          </p:cNvPr>
          <p:cNvSpPr/>
          <p:nvPr userDrawn="1"/>
        </p:nvSpPr>
        <p:spPr>
          <a:xfrm>
            <a:off x="3371592"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8" name="Rounded Rectangle 16">
            <a:extLst>
              <a:ext uri="{FF2B5EF4-FFF2-40B4-BE49-F238E27FC236}">
                <a16:creationId xmlns:a16="http://schemas.microsoft.com/office/drawing/2014/main" id="{9E1AF0A9-A8DF-B3AD-4061-1F3DB9326DFE}"/>
              </a:ext>
              <a:ext uri="{C183D7F6-B498-43B3-948B-1728B52AA6E4}">
                <adec:decorative xmlns:adec="http://schemas.microsoft.com/office/drawing/2017/decorative" val="1"/>
              </a:ext>
            </a:extLst>
          </p:cNvPr>
          <p:cNvSpPr/>
          <p:nvPr userDrawn="1"/>
        </p:nvSpPr>
        <p:spPr>
          <a:xfrm>
            <a:off x="61880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9" name="Rounded Rectangle 16">
            <a:extLst>
              <a:ext uri="{FF2B5EF4-FFF2-40B4-BE49-F238E27FC236}">
                <a16:creationId xmlns:a16="http://schemas.microsoft.com/office/drawing/2014/main" id="{33FE0F91-10BC-3B92-D08D-4016B7BCE70D}"/>
              </a:ext>
              <a:ext uri="{C183D7F6-B498-43B3-948B-1728B52AA6E4}">
                <adec:decorative xmlns:adec="http://schemas.microsoft.com/office/drawing/2017/decorative" val="1"/>
              </a:ext>
            </a:extLst>
          </p:cNvPr>
          <p:cNvSpPr/>
          <p:nvPr userDrawn="1"/>
        </p:nvSpPr>
        <p:spPr>
          <a:xfrm>
            <a:off x="9004300"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endParaRPr lang="en-US"/>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15">
            <a:extLst>
              <a:ext uri="{FF2B5EF4-FFF2-40B4-BE49-F238E27FC236}">
                <a16:creationId xmlns:a16="http://schemas.microsoft.com/office/drawing/2014/main" id="{C2673F96-0AAE-0AA8-C011-6D27ABFFA5A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286FD101-1142-066B-38EF-ABD93761A79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
        <p:nvSpPr>
          <p:cNvPr id="11" name="Text Placeholder 12">
            <a:extLst>
              <a:ext uri="{FF2B5EF4-FFF2-40B4-BE49-F238E27FC236}">
                <a16:creationId xmlns:a16="http://schemas.microsoft.com/office/drawing/2014/main" id="{C7B22AEA-E6E0-10EA-972B-60C41CD542B4}"/>
              </a:ext>
            </a:extLst>
          </p:cNvPr>
          <p:cNvSpPr>
            <a:spLocks noGrp="1"/>
          </p:cNvSpPr>
          <p:nvPr>
            <p:ph type="body" sz="quarter" idx="20"/>
          </p:nvPr>
        </p:nvSpPr>
        <p:spPr>
          <a:xfrm>
            <a:off x="549275" y="1798638"/>
            <a:ext cx="2632075"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3" name="Text Placeholder 12">
            <a:extLst>
              <a:ext uri="{FF2B5EF4-FFF2-40B4-BE49-F238E27FC236}">
                <a16:creationId xmlns:a16="http://schemas.microsoft.com/office/drawing/2014/main" id="{1172D26B-E764-2AD3-5B66-77526F922A00}"/>
              </a:ext>
            </a:extLst>
          </p:cNvPr>
          <p:cNvSpPr>
            <a:spLocks noGrp="1"/>
          </p:cNvSpPr>
          <p:nvPr>
            <p:ph type="body" sz="quarter" idx="24"/>
          </p:nvPr>
        </p:nvSpPr>
        <p:spPr>
          <a:xfrm>
            <a:off x="3370206" y="1798638"/>
            <a:ext cx="263221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14" name="Text Placeholder 12">
            <a:extLst>
              <a:ext uri="{FF2B5EF4-FFF2-40B4-BE49-F238E27FC236}">
                <a16:creationId xmlns:a16="http://schemas.microsoft.com/office/drawing/2014/main" id="{76DF36E0-17E8-D376-BEC6-4129110E6853}"/>
              </a:ext>
            </a:extLst>
          </p:cNvPr>
          <p:cNvSpPr>
            <a:spLocks noGrp="1"/>
          </p:cNvSpPr>
          <p:nvPr>
            <p:ph type="body" sz="quarter" idx="25"/>
          </p:nvPr>
        </p:nvSpPr>
        <p:spPr>
          <a:xfrm>
            <a:off x="6191137" y="1798638"/>
            <a:ext cx="263347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21" name="Text Placeholder 12">
            <a:extLst>
              <a:ext uri="{FF2B5EF4-FFF2-40B4-BE49-F238E27FC236}">
                <a16:creationId xmlns:a16="http://schemas.microsoft.com/office/drawing/2014/main" id="{A3ED623B-E2B3-F322-58B4-8269A5C53E49}"/>
              </a:ext>
            </a:extLst>
          </p:cNvPr>
          <p:cNvSpPr>
            <a:spLocks noGrp="1"/>
          </p:cNvSpPr>
          <p:nvPr>
            <p:ph type="body" sz="quarter" idx="26"/>
          </p:nvPr>
        </p:nvSpPr>
        <p:spPr>
          <a:xfrm>
            <a:off x="9012067" y="1798638"/>
            <a:ext cx="2633472"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a:t>
            </a:r>
          </a:p>
        </p:txBody>
      </p:sp>
      <p:sp>
        <p:nvSpPr>
          <p:cNvPr id="3" name="Text Placeholder 10">
            <a:extLst>
              <a:ext uri="{FF2B5EF4-FFF2-40B4-BE49-F238E27FC236}">
                <a16:creationId xmlns:a16="http://schemas.microsoft.com/office/drawing/2014/main" id="{F379B356-D925-A151-C5F6-2148FB4B20D4}"/>
              </a:ext>
            </a:extLst>
          </p:cNvPr>
          <p:cNvSpPr>
            <a:spLocks noGrp="1"/>
          </p:cNvSpPr>
          <p:nvPr>
            <p:ph type="body" sz="quarter" idx="19"/>
          </p:nvPr>
        </p:nvSpPr>
        <p:spPr>
          <a:xfrm>
            <a:off x="549275"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E7F31F01-9D75-E6E1-71D2-C8C56CFDC2A0}"/>
              </a:ext>
            </a:extLst>
          </p:cNvPr>
          <p:cNvSpPr>
            <a:spLocks noGrp="1"/>
          </p:cNvSpPr>
          <p:nvPr>
            <p:ph type="body" sz="quarter" idx="30"/>
          </p:nvPr>
        </p:nvSpPr>
        <p:spPr>
          <a:xfrm>
            <a:off x="3370206"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59EDA602-37E5-70CA-4209-5018B996F0DA}"/>
              </a:ext>
            </a:extLst>
          </p:cNvPr>
          <p:cNvSpPr>
            <a:spLocks noGrp="1"/>
          </p:cNvSpPr>
          <p:nvPr>
            <p:ph type="body" sz="quarter" idx="21"/>
          </p:nvPr>
        </p:nvSpPr>
        <p:spPr>
          <a:xfrm>
            <a:off x="6191137"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a:extLst>
              <a:ext uri="{FF2B5EF4-FFF2-40B4-BE49-F238E27FC236}">
                <a16:creationId xmlns:a16="http://schemas.microsoft.com/office/drawing/2014/main" id="{ED7D9930-8BCD-E650-7488-F2685A663E06}"/>
              </a:ext>
            </a:extLst>
          </p:cNvPr>
          <p:cNvSpPr>
            <a:spLocks noGrp="1"/>
          </p:cNvSpPr>
          <p:nvPr>
            <p:ph type="body" sz="quarter" idx="22"/>
          </p:nvPr>
        </p:nvSpPr>
        <p:spPr>
          <a:xfrm>
            <a:off x="9012067"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9F5639F8-C7E8-9F0E-3FCC-BAE6C60AAAC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6392543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tx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46FE976-0FE1-274F-E06E-C0A8D4A18A90}"/>
              </a:ext>
            </a:extLst>
          </p:cNvPr>
          <p:cNvPicPr/>
          <p:nvPr userDrawn="1"/>
        </p:nvPicPr>
        <p:blipFill>
          <a:blip r:embed="rId2"/>
          <a:stretch>
            <a:fillRect/>
          </a:stretch>
        </p:blipFill>
        <p:spPr>
          <a:xfrm>
            <a:off x="0" y="891"/>
            <a:ext cx="12187240" cy="6867144"/>
          </a:xfrm>
          <a:prstGeom prst="rect">
            <a:avLst/>
          </a:prstGeom>
        </p:spPr>
      </p:pic>
      <p:pic>
        <p:nvPicPr>
          <p:cNvPr id="5" name="Graphic 4">
            <a:extLst>
              <a:ext uri="{FF2B5EF4-FFF2-40B4-BE49-F238E27FC236}">
                <a16:creationId xmlns:a16="http://schemas.microsoft.com/office/drawing/2014/main" id="{8A0EAA98-115C-4D9A-CE64-11188EAAB82C}"/>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105" y="5818344"/>
            <a:ext cx="3186871" cy="919772"/>
          </a:xfrm>
          <a:prstGeom prst="rect">
            <a:avLst/>
          </a:prstGeom>
        </p:spPr>
      </p:pic>
      <p:sp>
        <p:nvSpPr>
          <p:cNvPr id="9" name="Title 4">
            <a:extLst>
              <a:ext uri="{FF2B5EF4-FFF2-40B4-BE49-F238E27FC236}">
                <a16:creationId xmlns:a16="http://schemas.microsoft.com/office/drawing/2014/main" id="{9C0C83DE-ED67-3155-5C16-72153FB4D765}"/>
              </a:ext>
            </a:extLst>
          </p:cNvPr>
          <p:cNvSpPr>
            <a:spLocks noGrp="1"/>
          </p:cNvSpPr>
          <p:nvPr>
            <p:ph type="title" hasCustomPrompt="1"/>
          </p:nvPr>
        </p:nvSpPr>
        <p:spPr>
          <a:xfrm>
            <a:off x="548499" y="547689"/>
            <a:ext cx="11086435" cy="3589909"/>
          </a:xfrm>
          <a:prstGeom prst="rect">
            <a:avLst/>
          </a:prstGeom>
        </p:spPr>
        <p:txBody>
          <a:bodyPr anchor="b"/>
          <a:lstStyle>
            <a:lvl1pPr>
              <a:lnSpc>
                <a:spcPct val="85000"/>
              </a:lnSpc>
              <a:defRPr sz="7198" b="1" i="0">
                <a:solidFill>
                  <a:schemeClr val="bg1"/>
                </a:solidFill>
                <a:latin typeface="ServiceNow Sans Display Bold" panose="020B0804040101010104" pitchFamily="34" charset="0"/>
              </a:defRPr>
            </a:lvl1pPr>
          </a:lstStyle>
          <a:p>
            <a:r>
              <a:rPr lang="en-US" dirty="0"/>
              <a:t>Click to edit style</a:t>
            </a:r>
          </a:p>
        </p:txBody>
      </p:sp>
      <p:sp>
        <p:nvSpPr>
          <p:cNvPr id="10" name="Text Placeholder 49">
            <a:extLst>
              <a:ext uri="{FF2B5EF4-FFF2-40B4-BE49-F238E27FC236}">
                <a16:creationId xmlns:a16="http://schemas.microsoft.com/office/drawing/2014/main" id="{86EF1016-55FE-E146-ABB0-1FE26746E786}"/>
              </a:ext>
            </a:extLst>
          </p:cNvPr>
          <p:cNvSpPr>
            <a:spLocks noGrp="1"/>
          </p:cNvSpPr>
          <p:nvPr>
            <p:ph type="body" sz="quarter" idx="10"/>
          </p:nvPr>
        </p:nvSpPr>
        <p:spPr>
          <a:xfrm>
            <a:off x="548498" y="4139185"/>
            <a:ext cx="6385485" cy="664828"/>
          </a:xfrm>
          <a:prstGeom prst="rect">
            <a:avLst/>
          </a:prstGeom>
        </p:spPr>
        <p:txBody>
          <a:bodyPr lIns="0" tIns="0" rIns="0" bIns="0" anchor="b">
            <a:noAutofit/>
          </a:bodyPr>
          <a:lstStyle>
            <a:lvl1pPr marL="0" indent="0">
              <a:lnSpc>
                <a:spcPct val="90000"/>
              </a:lnSpc>
              <a:spcBef>
                <a:spcPts val="0"/>
              </a:spcBef>
              <a:spcAft>
                <a:spcPts val="200"/>
              </a:spcAft>
              <a:buFontTx/>
              <a:buNone/>
              <a:tabLst/>
              <a:defRPr sz="1999" b="0" i="0" spc="0" baseline="0">
                <a:solidFill>
                  <a:schemeClr val="bg1"/>
                </a:solidFill>
                <a:latin typeface="ServiceNow Sans Medium" panose="020B0704040101010104" pitchFamily="34" charset="0"/>
                <a:cs typeface="ServiceNow Sans Medium" panose="020B0704040101010104" pitchFamily="34" charset="0"/>
              </a:defRPr>
            </a:lvl1pPr>
            <a:lvl2pPr marL="457063"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a:t>
            </a:r>
          </a:p>
        </p:txBody>
      </p:sp>
      <p:sp>
        <p:nvSpPr>
          <p:cNvPr id="3" name="Footer Placeholder 4">
            <a:extLst>
              <a:ext uri="{FF2B5EF4-FFF2-40B4-BE49-F238E27FC236}">
                <a16:creationId xmlns:a16="http://schemas.microsoft.com/office/drawing/2014/main" id="{F89A1AEB-D742-AB23-7E0D-3F9E46006682}"/>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7" name="Text Placeholder 51">
            <a:extLst>
              <a:ext uri="{FF2B5EF4-FFF2-40B4-BE49-F238E27FC236}">
                <a16:creationId xmlns:a16="http://schemas.microsoft.com/office/drawing/2014/main" id="{9813527D-9140-7A8D-C828-C5A74047DC51}"/>
              </a:ext>
            </a:extLst>
          </p:cNvPr>
          <p:cNvSpPr>
            <a:spLocks noGrp="1"/>
          </p:cNvSpPr>
          <p:nvPr>
            <p:ph type="body" sz="quarter" idx="14"/>
          </p:nvPr>
        </p:nvSpPr>
        <p:spPr>
          <a:xfrm>
            <a:off x="548498" y="5042963"/>
            <a:ext cx="6385485" cy="372018"/>
          </a:xfrm>
          <a:prstGeom prst="rect">
            <a:avLst/>
          </a:prstGeom>
        </p:spPr>
        <p:txBody>
          <a:bodyPr lIns="0" tIns="0" rIns="0" bIns="0" anchor="ctr"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063" indent="0">
              <a:buFontTx/>
              <a:buNone/>
              <a:defRPr>
                <a:solidFill>
                  <a:schemeClr val="bg1"/>
                </a:solidFill>
              </a:defRPr>
            </a:lvl2pPr>
            <a:lvl3pPr marL="914126" indent="0">
              <a:buFontTx/>
              <a:buNone/>
              <a:defRPr>
                <a:solidFill>
                  <a:schemeClr val="bg1"/>
                </a:solidFill>
              </a:defRPr>
            </a:lvl3pPr>
            <a:lvl4pPr marL="1371189" indent="0">
              <a:buFontTx/>
              <a:buNone/>
              <a:defRPr>
                <a:solidFill>
                  <a:schemeClr val="bg1"/>
                </a:solidFill>
              </a:defRPr>
            </a:lvl4pPr>
            <a:lvl5pPr marL="1828251" indent="0">
              <a:buFontTx/>
              <a:buNone/>
              <a:defRPr>
                <a:solidFill>
                  <a:schemeClr val="bg1"/>
                </a:solidFill>
              </a:defRPr>
            </a:lvl5pPr>
          </a:lstStyle>
          <a:p>
            <a:pPr lvl="0"/>
            <a:r>
              <a:rPr lang="en-GB" dirty="0"/>
              <a:t>Click to edit</a:t>
            </a:r>
          </a:p>
        </p:txBody>
      </p:sp>
      <p:sp>
        <p:nvSpPr>
          <p:cNvPr id="8" name="Text Placeholder 51">
            <a:extLst>
              <a:ext uri="{FF2B5EF4-FFF2-40B4-BE49-F238E27FC236}">
                <a16:creationId xmlns:a16="http://schemas.microsoft.com/office/drawing/2014/main" id="{AA810B5E-F60C-94AF-FE03-AB811C9DE417}"/>
              </a:ext>
            </a:extLst>
          </p:cNvPr>
          <p:cNvSpPr>
            <a:spLocks noGrp="1"/>
          </p:cNvSpPr>
          <p:nvPr>
            <p:ph type="body" sz="quarter" idx="15"/>
          </p:nvPr>
        </p:nvSpPr>
        <p:spPr>
          <a:xfrm>
            <a:off x="548497" y="5502465"/>
            <a:ext cx="6385484" cy="372018"/>
          </a:xfrm>
          <a:prstGeom prst="rect">
            <a:avLst/>
          </a:prstGeom>
        </p:spPr>
        <p:txBody>
          <a:bodyPr lIns="0" tIns="0" rIns="0" bIns="0" anchor="ctr"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063" indent="0">
              <a:buFontTx/>
              <a:buNone/>
              <a:defRPr>
                <a:solidFill>
                  <a:schemeClr val="bg1"/>
                </a:solidFill>
              </a:defRPr>
            </a:lvl2pPr>
            <a:lvl3pPr marL="914126" indent="0">
              <a:buFontTx/>
              <a:buNone/>
              <a:defRPr>
                <a:solidFill>
                  <a:schemeClr val="bg1"/>
                </a:solidFill>
              </a:defRPr>
            </a:lvl3pPr>
            <a:lvl4pPr marL="1371189" indent="0">
              <a:buFontTx/>
              <a:buNone/>
              <a:defRPr>
                <a:solidFill>
                  <a:schemeClr val="bg1"/>
                </a:solidFill>
              </a:defRPr>
            </a:lvl4pPr>
            <a:lvl5pPr marL="1828251" indent="0">
              <a:buFontTx/>
              <a:buNone/>
              <a:defRPr>
                <a:solidFill>
                  <a:schemeClr val="bg1"/>
                </a:solidFill>
              </a:defRPr>
            </a:lvl5pPr>
          </a:lstStyle>
          <a:p>
            <a:pPr lvl="0"/>
            <a:r>
              <a:rPr lang="en-GB" dirty="0"/>
              <a:t>Click to edit</a:t>
            </a:r>
          </a:p>
        </p:txBody>
      </p:sp>
      <p:sp>
        <p:nvSpPr>
          <p:cNvPr id="11" name="Text Placeholder 51">
            <a:extLst>
              <a:ext uri="{FF2B5EF4-FFF2-40B4-BE49-F238E27FC236}">
                <a16:creationId xmlns:a16="http://schemas.microsoft.com/office/drawing/2014/main" id="{BBD5D642-02AC-D5AC-14D7-A53313A27CB6}"/>
              </a:ext>
            </a:extLst>
          </p:cNvPr>
          <p:cNvSpPr>
            <a:spLocks noGrp="1"/>
          </p:cNvSpPr>
          <p:nvPr>
            <p:ph type="body" sz="quarter" idx="16"/>
          </p:nvPr>
        </p:nvSpPr>
        <p:spPr>
          <a:xfrm>
            <a:off x="548497" y="5953878"/>
            <a:ext cx="6385484" cy="372018"/>
          </a:xfrm>
          <a:prstGeom prst="rect">
            <a:avLst/>
          </a:prstGeom>
        </p:spPr>
        <p:txBody>
          <a:bodyPr lIns="0" tIns="0" rIns="0" bIns="0" anchor="ctr"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063" indent="0">
              <a:buFontTx/>
              <a:buNone/>
              <a:defRPr>
                <a:solidFill>
                  <a:schemeClr val="bg1"/>
                </a:solidFill>
              </a:defRPr>
            </a:lvl2pPr>
            <a:lvl3pPr marL="914126" indent="0">
              <a:buFontTx/>
              <a:buNone/>
              <a:defRPr>
                <a:solidFill>
                  <a:schemeClr val="bg1"/>
                </a:solidFill>
              </a:defRPr>
            </a:lvl3pPr>
            <a:lvl4pPr marL="1371189" indent="0">
              <a:buFontTx/>
              <a:buNone/>
              <a:defRPr>
                <a:solidFill>
                  <a:schemeClr val="bg1"/>
                </a:solidFill>
              </a:defRPr>
            </a:lvl4pPr>
            <a:lvl5pPr marL="1828251" indent="0">
              <a:buFontTx/>
              <a:buNone/>
              <a:defRPr>
                <a:solidFill>
                  <a:schemeClr val="bg1"/>
                </a:solidFill>
              </a:defRPr>
            </a:lvl5pPr>
          </a:lstStyle>
          <a:p>
            <a:pPr lvl="0"/>
            <a:r>
              <a:rPr lang="en-GB" dirty="0"/>
              <a:t>Click to edit</a:t>
            </a:r>
          </a:p>
        </p:txBody>
      </p:sp>
    </p:spTree>
    <p:extLst>
      <p:ext uri="{BB962C8B-B14F-4D97-AF65-F5344CB8AC3E}">
        <p14:creationId xmlns:p14="http://schemas.microsoft.com/office/powerpoint/2010/main" val="27022358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eaker Intro">
    <p:bg>
      <p:bgPr>
        <a:solidFill>
          <a:schemeClr val="bg2"/>
        </a:solidFill>
        <a:effectLst/>
      </p:bgPr>
    </p:bg>
    <p:spTree>
      <p:nvGrpSpPr>
        <p:cNvPr id="1" name=""/>
        <p:cNvGrpSpPr/>
        <p:nvPr/>
      </p:nvGrpSpPr>
      <p:grpSpPr>
        <a:xfrm>
          <a:off x="0" y="0"/>
          <a:ext cx="0" cy="0"/>
          <a:chOff x="0" y="0"/>
          <a:chExt cx="0" cy="0"/>
        </a:xfrm>
      </p:grpSpPr>
      <p:pic>
        <p:nvPicPr>
          <p:cNvPr id="7" name="Picture 6" descr="A blue and green background&#10;&#10;AI-generated content may be incorrect.">
            <a:extLst>
              <a:ext uri="{FF2B5EF4-FFF2-40B4-BE49-F238E27FC236}">
                <a16:creationId xmlns:a16="http://schemas.microsoft.com/office/drawing/2014/main" id="{C0081E1C-CA57-25E6-AB39-F59E696C98C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43440C0F-8971-B5A7-642E-BBBE963D3956}"/>
              </a:ext>
              <a:ext uri="{C183D7F6-B498-43B3-948B-1728B52AA6E4}">
                <adec:decorative xmlns:adec="http://schemas.microsoft.com/office/drawing/2017/decorative" val="1"/>
              </a:ext>
            </a:extLst>
          </p:cNvPr>
          <p:cNvSpPr/>
          <p:nvPr userDrawn="1"/>
        </p:nvSpPr>
        <p:spPr>
          <a:xfrm>
            <a:off x="6188075" y="549275"/>
            <a:ext cx="5448300" cy="5463184"/>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0" name="Picture Placeholder 3">
            <a:extLst>
              <a:ext uri="{FF2B5EF4-FFF2-40B4-BE49-F238E27FC236}">
                <a16:creationId xmlns:a16="http://schemas.microsoft.com/office/drawing/2014/main" id="{47674A7D-2262-33D2-CF61-1D8E3432D921}"/>
              </a:ext>
              <a:ext uri="{C183D7F6-B498-43B3-948B-1728B52AA6E4}">
                <adec:decorative xmlns:adec="http://schemas.microsoft.com/office/drawing/2017/decorative" val="1"/>
              </a:ext>
            </a:extLst>
          </p:cNvPr>
          <p:cNvSpPr>
            <a:spLocks noGrp="1"/>
          </p:cNvSpPr>
          <p:nvPr>
            <p:ph type="pic" sz="quarter" idx="16"/>
          </p:nvPr>
        </p:nvSpPr>
        <p:spPr>
          <a:xfrm>
            <a:off x="6302974" y="664175"/>
            <a:ext cx="5218501" cy="5233384"/>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11" name="Title 1">
            <a:extLst>
              <a:ext uri="{FF2B5EF4-FFF2-40B4-BE49-F238E27FC236}">
                <a16:creationId xmlns:a16="http://schemas.microsoft.com/office/drawing/2014/main" id="{EBE5AD47-9101-0EE9-6E7A-5FC5C70D5D5E}"/>
              </a:ext>
            </a:extLst>
          </p:cNvPr>
          <p:cNvSpPr>
            <a:spLocks noGrp="1"/>
          </p:cNvSpPr>
          <p:nvPr>
            <p:ph type="title" hasCustomPrompt="1"/>
          </p:nvPr>
        </p:nvSpPr>
        <p:spPr>
          <a:xfrm>
            <a:off x="548640" y="1955800"/>
            <a:ext cx="5460049" cy="2097412"/>
          </a:xfrm>
          <a:prstGeom prst="rect">
            <a:avLst/>
          </a:prstGeom>
        </p:spPr>
        <p:txBody>
          <a:bodyPr lIns="0" tIns="0" rIns="0" bIns="0" anchor="b">
            <a:noAutofit/>
          </a:bodyPr>
          <a:lstStyle>
            <a:lvl1pPr>
              <a:lnSpc>
                <a:spcPct val="85000"/>
              </a:lnSpc>
              <a:defRPr sz="4000" b="1" i="0" spc="0" baseline="0">
                <a:solidFill>
                  <a:schemeClr val="accent1"/>
                </a:solidFill>
                <a:latin typeface="ServiceNow Sans" panose="020B0504040101010104" pitchFamily="34" charset="0"/>
                <a:cs typeface="ServiceNow Sans" panose="020B0504040101010104" pitchFamily="34" charset="0"/>
              </a:defRPr>
            </a:lvl1pPr>
          </a:lstStyle>
          <a:p>
            <a:r>
              <a:rPr lang="en-US"/>
              <a:t>Speaker First Name </a:t>
            </a:r>
            <a:br>
              <a:rPr lang="en-US"/>
            </a:br>
            <a:r>
              <a:rPr lang="en-US"/>
              <a:t>and Last Name</a:t>
            </a:r>
          </a:p>
        </p:txBody>
      </p:sp>
      <p:sp>
        <p:nvSpPr>
          <p:cNvPr id="2" name="Text Placeholder 7">
            <a:extLst>
              <a:ext uri="{FF2B5EF4-FFF2-40B4-BE49-F238E27FC236}">
                <a16:creationId xmlns:a16="http://schemas.microsoft.com/office/drawing/2014/main" id="{D6CE5D95-76B3-C7F9-A156-99BD7B68DB00}"/>
              </a:ext>
            </a:extLst>
          </p:cNvPr>
          <p:cNvSpPr>
            <a:spLocks noGrp="1"/>
          </p:cNvSpPr>
          <p:nvPr>
            <p:ph type="body" sz="quarter" idx="15" hasCustomPrompt="1"/>
          </p:nvPr>
        </p:nvSpPr>
        <p:spPr>
          <a:xfrm>
            <a:off x="548639" y="4403558"/>
            <a:ext cx="5460050" cy="924091"/>
          </a:xfrm>
          <a:prstGeom prst="rect">
            <a:avLst/>
          </a:prstGeom>
        </p:spPr>
        <p:txBody>
          <a:bodyPr vert="horz" lIns="0" tIns="0" rIns="0" bIns="0" rtlCol="0">
            <a:noAutofit/>
          </a:bodyPr>
          <a:lstStyle>
            <a:lvl1pPr marL="0" indent="0">
              <a:lnSpc>
                <a:spcPct val="90000"/>
              </a:lnSpc>
              <a:spcBef>
                <a:spcPts val="0"/>
              </a:spcBef>
              <a:spcAft>
                <a:spcPts val="200"/>
              </a:spcAft>
              <a:buFont typeface="ServiceNow Sans" panose="020B0504040101010104" pitchFamily="34" charset="0"/>
              <a:buNone/>
              <a:defRPr lang="en-US" sz="2000" b="0" i="0" spc="0" baseline="0" dirty="0">
                <a:solidFill>
                  <a:schemeClr val="bg1"/>
                </a:solidFill>
                <a:latin typeface="ServiceNow Sans Light" panose="020B0404040101010104" pitchFamily="34" charset="77"/>
                <a:cs typeface="ServiceNow Sans Light" panose="020B0404040101010104" pitchFamily="34" charset="77"/>
              </a:defRPr>
            </a:lvl1pPr>
          </a:lstStyle>
          <a:p>
            <a:pPr lvl="0"/>
            <a:r>
              <a:rPr lang="en-US"/>
              <a:t>Speaker job title</a:t>
            </a:r>
          </a:p>
          <a:p>
            <a:pPr lvl="0"/>
            <a:r>
              <a:rPr lang="en-US"/>
              <a:t>Company</a:t>
            </a:r>
          </a:p>
          <a:p>
            <a:pPr lvl="0"/>
            <a:endParaRPr lang="en-US"/>
          </a:p>
        </p:txBody>
      </p:sp>
      <p:pic>
        <p:nvPicPr>
          <p:cNvPr id="16" name="Picture 15">
            <a:extLst>
              <a:ext uri="{FF2B5EF4-FFF2-40B4-BE49-F238E27FC236}">
                <a16:creationId xmlns:a16="http://schemas.microsoft.com/office/drawing/2014/main" id="{DFFE0361-3E8B-EAEF-A942-2AD4D6E6252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7" name="Slide Number Placeholder 5">
            <a:extLst>
              <a:ext uri="{FF2B5EF4-FFF2-40B4-BE49-F238E27FC236}">
                <a16:creationId xmlns:a16="http://schemas.microsoft.com/office/drawing/2014/main" id="{8393610F-C286-1AEB-B538-F5EBFF831936}"/>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1291574696"/>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eaker Intro 2-up">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A902DBCA-1712-D001-F7B9-664B7942E02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116" name="Rounded Rectangle 7">
            <a:extLst>
              <a:ext uri="{FF2B5EF4-FFF2-40B4-BE49-F238E27FC236}">
                <a16:creationId xmlns:a16="http://schemas.microsoft.com/office/drawing/2014/main" id="{9CC0F755-5EE7-D164-ECD2-3A3E0C0C5F5D}"/>
              </a:ext>
              <a:ext uri="{C183D7F6-B498-43B3-948B-1728B52AA6E4}">
                <adec:decorative xmlns:adec="http://schemas.microsoft.com/office/drawing/2017/decorative" val="1"/>
              </a:ext>
            </a:extLst>
          </p:cNvPr>
          <p:cNvSpPr>
            <a:spLocks noChangeAspect="1"/>
          </p:cNvSpPr>
          <p:nvPr/>
        </p:nvSpPr>
        <p:spPr>
          <a:xfrm>
            <a:off x="7434872" y="1050209"/>
            <a:ext cx="2859566" cy="2859566"/>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15" name="Rounded Rectangle 7">
            <a:extLst>
              <a:ext uri="{FF2B5EF4-FFF2-40B4-BE49-F238E27FC236}">
                <a16:creationId xmlns:a16="http://schemas.microsoft.com/office/drawing/2014/main" id="{6E204C7E-B384-3D64-97C8-176A1995E8E6}"/>
              </a:ext>
              <a:ext uri="{C183D7F6-B498-43B3-948B-1728B52AA6E4}">
                <adec:decorative xmlns:adec="http://schemas.microsoft.com/office/drawing/2017/decorative" val="1"/>
              </a:ext>
            </a:extLst>
          </p:cNvPr>
          <p:cNvSpPr>
            <a:spLocks noChangeAspect="1"/>
          </p:cNvSpPr>
          <p:nvPr/>
        </p:nvSpPr>
        <p:spPr>
          <a:xfrm>
            <a:off x="1894535" y="1050209"/>
            <a:ext cx="2859566" cy="2859566"/>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20" name="Picture Placeholder 3">
            <a:extLst>
              <a:ext uri="{FF2B5EF4-FFF2-40B4-BE49-F238E27FC236}">
                <a16:creationId xmlns:a16="http://schemas.microsoft.com/office/drawing/2014/main" id="{AABB7220-FFAB-1925-0B03-B2C34209494B}"/>
              </a:ext>
              <a:ext uri="{C183D7F6-B498-43B3-948B-1728B52AA6E4}">
                <adec:decorative xmlns:adec="http://schemas.microsoft.com/office/drawing/2017/decorative" val="1"/>
              </a:ext>
            </a:extLst>
          </p:cNvPr>
          <p:cNvSpPr>
            <a:spLocks noGrp="1"/>
          </p:cNvSpPr>
          <p:nvPr>
            <p:ph type="pic" sz="quarter" idx="16"/>
          </p:nvPr>
        </p:nvSpPr>
        <p:spPr>
          <a:xfrm>
            <a:off x="7526782" y="1142120"/>
            <a:ext cx="2675747" cy="2675743"/>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121" name="Picture Placeholder 3">
            <a:extLst>
              <a:ext uri="{FF2B5EF4-FFF2-40B4-BE49-F238E27FC236}">
                <a16:creationId xmlns:a16="http://schemas.microsoft.com/office/drawing/2014/main" id="{EBA32F00-9DF3-58B7-6F82-B0701A96BF19}"/>
              </a:ext>
              <a:ext uri="{C183D7F6-B498-43B3-948B-1728B52AA6E4}">
                <adec:decorative xmlns:adec="http://schemas.microsoft.com/office/drawing/2017/decorative" val="1"/>
              </a:ext>
            </a:extLst>
          </p:cNvPr>
          <p:cNvSpPr>
            <a:spLocks noGrp="1"/>
          </p:cNvSpPr>
          <p:nvPr>
            <p:ph type="pic" sz="quarter" idx="45"/>
          </p:nvPr>
        </p:nvSpPr>
        <p:spPr>
          <a:xfrm>
            <a:off x="1986444" y="1142120"/>
            <a:ext cx="2675747" cy="2675743"/>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18" name="Text Placeholder 17">
            <a:extLst>
              <a:ext uri="{FF2B5EF4-FFF2-40B4-BE49-F238E27FC236}">
                <a16:creationId xmlns:a16="http://schemas.microsoft.com/office/drawing/2014/main" id="{001579DC-5BDB-5D82-EF06-5DEEB44B1397}"/>
              </a:ext>
            </a:extLst>
          </p:cNvPr>
          <p:cNvSpPr>
            <a:spLocks noGrp="1"/>
          </p:cNvSpPr>
          <p:nvPr>
            <p:ph type="body" sz="quarter" idx="37" hasCustomPrompt="1"/>
          </p:nvPr>
        </p:nvSpPr>
        <p:spPr>
          <a:xfrm>
            <a:off x="971326" y="4304190"/>
            <a:ext cx="4705985" cy="795970"/>
          </a:xfrm>
          <a:prstGeom prst="rect">
            <a:avLst/>
          </a:prstGeom>
        </p:spPr>
        <p:txBody>
          <a:bodyPr anchor="b" anchorCtr="0"/>
          <a:lstStyle>
            <a:lvl1pPr marL="0" indent="0" algn="ctr" defTabSz="914400" rtl="0" eaLnBrk="1" latinLnBrk="0" hangingPunct="1">
              <a:lnSpc>
                <a:spcPct val="85000"/>
              </a:lnSpc>
              <a:spcBef>
                <a:spcPts val="0"/>
              </a:spcBef>
              <a:spcAft>
                <a:spcPts val="1000"/>
              </a:spcAft>
              <a:buFont typeface="ServiceNow Sans" panose="020B0504040101010104" pitchFamily="34" charset="0"/>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lvl="0"/>
            <a:r>
              <a:rPr lang="en-US"/>
              <a:t>Speaker First Name </a:t>
            </a:r>
            <a:br>
              <a:rPr lang="en-US"/>
            </a:br>
            <a:r>
              <a:rPr lang="en-US"/>
              <a:t>and Last Name</a:t>
            </a:r>
          </a:p>
        </p:txBody>
      </p:sp>
      <p:sp>
        <p:nvSpPr>
          <p:cNvPr id="14" name="Text Placeholder 19">
            <a:extLst>
              <a:ext uri="{FF2B5EF4-FFF2-40B4-BE49-F238E27FC236}">
                <a16:creationId xmlns:a16="http://schemas.microsoft.com/office/drawing/2014/main" id="{9A1F1CF4-2B99-201E-A4D5-E570269FF8CA}"/>
              </a:ext>
            </a:extLst>
          </p:cNvPr>
          <p:cNvSpPr>
            <a:spLocks noGrp="1"/>
          </p:cNvSpPr>
          <p:nvPr>
            <p:ph type="body" sz="quarter" idx="35" hasCustomPrompt="1"/>
          </p:nvPr>
        </p:nvSpPr>
        <p:spPr>
          <a:xfrm>
            <a:off x="971027" y="5315748"/>
            <a:ext cx="4706284" cy="635615"/>
          </a:xfrm>
          <a:prstGeom prst="rect">
            <a:avLst/>
          </a:prstGeom>
        </p:spPr>
        <p:txBody>
          <a:bodyPr/>
          <a:lstStyle>
            <a:lvl1pPr marL="0" indent="0" algn="ctr" defTabSz="914400" rtl="0" eaLnBrk="1" latinLnBrk="0" hangingPunct="1">
              <a:lnSpc>
                <a:spcPct val="100000"/>
              </a:lnSpc>
              <a:spcBef>
                <a:spcPts val="0"/>
              </a:spcBef>
              <a:spcAft>
                <a:spcPts val="0"/>
              </a:spcAft>
              <a:buFont typeface="ServiceNow Sans" panose="020B0504040101010104" pitchFamily="34" charset="0"/>
              <a:buNone/>
              <a:defRPr lang="en-US" sz="1600" b="0" i="0" kern="1200" spc="0" baseline="0" dirty="0">
                <a:solidFill>
                  <a:schemeClr val="bg1"/>
                </a:solidFill>
                <a:latin typeface="+mn-lt"/>
                <a:ea typeface="+mn-ea"/>
                <a:cs typeface="ServiceNow Sans Light" panose="020B0404040101010104" pitchFamily="34" charset="77"/>
              </a:defRPr>
            </a:lvl1pPr>
          </a:lstStyle>
          <a:p>
            <a:pPr lvl="0"/>
            <a:r>
              <a:rPr lang="en-US"/>
              <a:t>Speaker job title</a:t>
            </a:r>
          </a:p>
          <a:p>
            <a:pPr lvl="0"/>
            <a:r>
              <a:rPr lang="en-US"/>
              <a:t>Company</a:t>
            </a:r>
          </a:p>
        </p:txBody>
      </p:sp>
      <p:sp>
        <p:nvSpPr>
          <p:cNvPr id="10" name="Text Placeholder 17">
            <a:extLst>
              <a:ext uri="{FF2B5EF4-FFF2-40B4-BE49-F238E27FC236}">
                <a16:creationId xmlns:a16="http://schemas.microsoft.com/office/drawing/2014/main" id="{2D7B2D6C-84E9-2F02-6DD5-CDE07C07A00A}"/>
              </a:ext>
            </a:extLst>
          </p:cNvPr>
          <p:cNvSpPr>
            <a:spLocks noGrp="1"/>
          </p:cNvSpPr>
          <p:nvPr>
            <p:ph type="body" sz="quarter" idx="42" hasCustomPrompt="1"/>
          </p:nvPr>
        </p:nvSpPr>
        <p:spPr>
          <a:xfrm>
            <a:off x="6511663" y="4304190"/>
            <a:ext cx="4710769"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16" name="Text Placeholder 19">
            <a:extLst>
              <a:ext uri="{FF2B5EF4-FFF2-40B4-BE49-F238E27FC236}">
                <a16:creationId xmlns:a16="http://schemas.microsoft.com/office/drawing/2014/main" id="{7279DD51-E437-EB25-63F6-946E8B0CF9CE}"/>
              </a:ext>
            </a:extLst>
          </p:cNvPr>
          <p:cNvSpPr>
            <a:spLocks noGrp="1"/>
          </p:cNvSpPr>
          <p:nvPr>
            <p:ph type="body" sz="quarter" idx="43" hasCustomPrompt="1"/>
          </p:nvPr>
        </p:nvSpPr>
        <p:spPr>
          <a:xfrm>
            <a:off x="6511364" y="5315748"/>
            <a:ext cx="4711068" cy="635615"/>
          </a:xfrm>
          <a:prstGeom prst="rect">
            <a:avLst/>
          </a:prstGeom>
        </p:spPr>
        <p:txBody>
          <a:bodyPr/>
          <a:lstStyle>
            <a:lvl1pPr marL="0" indent="0" algn="ctr">
              <a:lnSpc>
                <a:spcPct val="100000"/>
              </a:lnSpc>
              <a:spcBef>
                <a:spcPts val="0"/>
              </a:spcBef>
              <a:spcAft>
                <a:spcPts val="0"/>
              </a:spcAft>
              <a:buNone/>
              <a:defRPr lang="en-US" sz="1600" b="0" i="0" kern="1200" spc="0" baseline="0" dirty="0">
                <a:solidFill>
                  <a:schemeClr val="bg1"/>
                </a:solidFill>
                <a:latin typeface="+mn-lt"/>
                <a:ea typeface="+mn-ea"/>
                <a:cs typeface="ServiceNow Sans Light" panose="020B0404040101010104" pitchFamily="34" charset="77"/>
              </a:defRPr>
            </a:lvl1pPr>
          </a:lstStyle>
          <a:p>
            <a:pPr marL="0" lvl="0" indent="0" algn="ctr" defTabSz="914400" rtl="0" eaLnBrk="1" latinLnBrk="0" hangingPunct="1">
              <a:lnSpc>
                <a:spcPct val="100000"/>
              </a:lnSpc>
              <a:spcBef>
                <a:spcPts val="0"/>
              </a:spcBef>
              <a:spcAft>
                <a:spcPts val="0"/>
              </a:spcAft>
              <a:buFont typeface="ServiceNow Sans" panose="020B0504040101010104" pitchFamily="34" charset="0"/>
              <a:buNone/>
            </a:pPr>
            <a:r>
              <a:rPr lang="en-US"/>
              <a:t>Speaker job title</a:t>
            </a:r>
          </a:p>
          <a:p>
            <a:pPr marL="0" lvl="0" indent="0" algn="ctr" defTabSz="914400" rtl="0" eaLnBrk="1" latinLnBrk="0" hangingPunct="1">
              <a:lnSpc>
                <a:spcPct val="100000"/>
              </a:lnSpc>
              <a:spcBef>
                <a:spcPts val="0"/>
              </a:spcBef>
              <a:spcAft>
                <a:spcPts val="0"/>
              </a:spcAft>
              <a:buFont typeface="ServiceNow Sans" panose="020B0504040101010104" pitchFamily="34" charset="0"/>
              <a:buNone/>
            </a:pPr>
            <a:r>
              <a:rPr lang="en-US"/>
              <a:t>Company</a:t>
            </a:r>
          </a:p>
        </p:txBody>
      </p:sp>
      <p:pic>
        <p:nvPicPr>
          <p:cNvPr id="3" name="Picture 15">
            <a:extLst>
              <a:ext uri="{FF2B5EF4-FFF2-40B4-BE49-F238E27FC236}">
                <a16:creationId xmlns:a16="http://schemas.microsoft.com/office/drawing/2014/main" id="{7257759C-934F-EB6E-134F-29746BB7B50E}"/>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7E60B2E-7FB4-CA03-B80D-66C56D858F1D}"/>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5" name="Picture 4">
            <a:extLst>
              <a:ext uri="{FF2B5EF4-FFF2-40B4-BE49-F238E27FC236}">
                <a16:creationId xmlns:a16="http://schemas.microsoft.com/office/drawing/2014/main" id="{2C4F2B6C-A6F4-CC7C-0FAD-CF582CF083B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084062545"/>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eaker Intro 3-up">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19D715F3-16DB-CB0A-745D-D5A82550AAD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17" name="Rounded Rectangle 7">
            <a:extLst>
              <a:ext uri="{FF2B5EF4-FFF2-40B4-BE49-F238E27FC236}">
                <a16:creationId xmlns:a16="http://schemas.microsoft.com/office/drawing/2014/main" id="{25AD82B2-E0F3-FA72-A27D-58FF18135715}"/>
              </a:ext>
              <a:ext uri="{C183D7F6-B498-43B3-948B-1728B52AA6E4}">
                <adec:decorative xmlns:adec="http://schemas.microsoft.com/office/drawing/2017/decorative" val="1"/>
              </a:ext>
            </a:extLst>
          </p:cNvPr>
          <p:cNvSpPr>
            <a:spLocks noChangeAspect="1"/>
          </p:cNvSpPr>
          <p:nvPr userDrawn="1"/>
        </p:nvSpPr>
        <p:spPr>
          <a:xfrm>
            <a:off x="8719181"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6" name="Rounded Rectangle 7">
            <a:extLst>
              <a:ext uri="{FF2B5EF4-FFF2-40B4-BE49-F238E27FC236}">
                <a16:creationId xmlns:a16="http://schemas.microsoft.com/office/drawing/2014/main" id="{C390272B-61FE-A17C-C3CE-EA85D6869063}"/>
              </a:ext>
              <a:ext uri="{C183D7F6-B498-43B3-948B-1728B52AA6E4}">
                <adec:decorative xmlns:adec="http://schemas.microsoft.com/office/drawing/2017/decorative" val="1"/>
              </a:ext>
            </a:extLst>
          </p:cNvPr>
          <p:cNvSpPr>
            <a:spLocks noChangeAspect="1"/>
          </p:cNvSpPr>
          <p:nvPr userDrawn="1"/>
        </p:nvSpPr>
        <p:spPr>
          <a:xfrm>
            <a:off x="4966035"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0" name="Rounded Rectangle 7">
            <a:extLst>
              <a:ext uri="{FF2B5EF4-FFF2-40B4-BE49-F238E27FC236}">
                <a16:creationId xmlns:a16="http://schemas.microsoft.com/office/drawing/2014/main" id="{26B7A208-1CD3-2888-7EEA-D685553DFE96}"/>
              </a:ext>
              <a:ext uri="{C183D7F6-B498-43B3-948B-1728B52AA6E4}">
                <adec:decorative xmlns:adec="http://schemas.microsoft.com/office/drawing/2017/decorative" val="1"/>
              </a:ext>
            </a:extLst>
          </p:cNvPr>
          <p:cNvSpPr>
            <a:spLocks noChangeAspect="1"/>
          </p:cNvSpPr>
          <p:nvPr userDrawn="1"/>
        </p:nvSpPr>
        <p:spPr>
          <a:xfrm>
            <a:off x="1201755" y="1542926"/>
            <a:ext cx="2258568" cy="2258568"/>
          </a:xfrm>
          <a:prstGeom prst="roundRect">
            <a:avLst>
              <a:gd name="adj" fmla="val 279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41" name="Picture Placeholder 3">
            <a:extLst>
              <a:ext uri="{FF2B5EF4-FFF2-40B4-BE49-F238E27FC236}">
                <a16:creationId xmlns:a16="http://schemas.microsoft.com/office/drawing/2014/main" id="{B92F3DF1-E156-91ED-5738-8673B2CE7787}"/>
              </a:ext>
              <a:ext uri="{C183D7F6-B498-43B3-948B-1728B52AA6E4}">
                <adec:decorative xmlns:adec="http://schemas.microsoft.com/office/drawing/2017/decorative" val="1"/>
              </a:ext>
            </a:extLst>
          </p:cNvPr>
          <p:cNvSpPr>
            <a:spLocks noGrp="1"/>
          </p:cNvSpPr>
          <p:nvPr>
            <p:ph type="pic" sz="quarter" idx="53"/>
          </p:nvPr>
        </p:nvSpPr>
        <p:spPr>
          <a:xfrm>
            <a:off x="8811090"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40" name="Picture Placeholder 3">
            <a:extLst>
              <a:ext uri="{FF2B5EF4-FFF2-40B4-BE49-F238E27FC236}">
                <a16:creationId xmlns:a16="http://schemas.microsoft.com/office/drawing/2014/main" id="{5F3C1B7B-969F-591F-7910-2E8FEDD2C47A}"/>
              </a:ext>
              <a:ext uri="{C183D7F6-B498-43B3-948B-1728B52AA6E4}">
                <adec:decorative xmlns:adec="http://schemas.microsoft.com/office/drawing/2017/decorative" val="1"/>
              </a:ext>
            </a:extLst>
          </p:cNvPr>
          <p:cNvSpPr>
            <a:spLocks noGrp="1"/>
          </p:cNvSpPr>
          <p:nvPr>
            <p:ph type="pic" sz="quarter" idx="52"/>
          </p:nvPr>
        </p:nvSpPr>
        <p:spPr>
          <a:xfrm>
            <a:off x="5057944"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39" name="Picture Placeholder 3">
            <a:extLst>
              <a:ext uri="{FF2B5EF4-FFF2-40B4-BE49-F238E27FC236}">
                <a16:creationId xmlns:a16="http://schemas.microsoft.com/office/drawing/2014/main" id="{26F26084-2934-2031-575E-EBE93707EAC2}"/>
              </a:ext>
              <a:ext uri="{C183D7F6-B498-43B3-948B-1728B52AA6E4}">
                <adec:decorative xmlns:adec="http://schemas.microsoft.com/office/drawing/2017/decorative" val="1"/>
              </a:ext>
            </a:extLst>
          </p:cNvPr>
          <p:cNvSpPr>
            <a:spLocks noGrp="1"/>
          </p:cNvSpPr>
          <p:nvPr>
            <p:ph type="pic" sz="quarter" idx="45"/>
          </p:nvPr>
        </p:nvSpPr>
        <p:spPr>
          <a:xfrm>
            <a:off x="1293664" y="1631877"/>
            <a:ext cx="2074750" cy="2080667"/>
          </a:xfrm>
          <a:prstGeom prst="roundRect">
            <a:avLst>
              <a:gd name="adj" fmla="val 1563"/>
            </a:avLst>
          </a:prstGeom>
          <a:noFill/>
        </p:spPr>
        <p:txBody>
          <a:bodyPr/>
          <a:lstStyle>
            <a:lvl1pPr marL="0" indent="0" algn="ctr">
              <a:lnSpc>
                <a:spcPct val="82000"/>
              </a:lnSpc>
              <a:buNone/>
              <a:defRPr spc="0" baseline="0">
                <a:solidFill>
                  <a:schemeClr val="bg1"/>
                </a:solidFill>
              </a:defRPr>
            </a:lvl1pPr>
          </a:lstStyle>
          <a:p>
            <a:r>
              <a:rPr lang="en-US" dirty="0"/>
              <a:t>Click icon to add picture</a:t>
            </a:r>
          </a:p>
        </p:txBody>
      </p:sp>
      <p:sp>
        <p:nvSpPr>
          <p:cNvPr id="9" name="Text Placeholder 17">
            <a:extLst>
              <a:ext uri="{FF2B5EF4-FFF2-40B4-BE49-F238E27FC236}">
                <a16:creationId xmlns:a16="http://schemas.microsoft.com/office/drawing/2014/main" id="{1DB5B62E-DF63-AAAF-00F2-70C6A33B6AED}"/>
              </a:ext>
            </a:extLst>
          </p:cNvPr>
          <p:cNvSpPr>
            <a:spLocks noGrp="1"/>
          </p:cNvSpPr>
          <p:nvPr>
            <p:ph type="body" sz="quarter" idx="37" hasCustomPrompt="1"/>
          </p:nvPr>
        </p:nvSpPr>
        <p:spPr>
          <a:xfrm>
            <a:off x="548753" y="4069550"/>
            <a:ext cx="3564573"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11" name="Text Placeholder 19">
            <a:extLst>
              <a:ext uri="{FF2B5EF4-FFF2-40B4-BE49-F238E27FC236}">
                <a16:creationId xmlns:a16="http://schemas.microsoft.com/office/drawing/2014/main" id="{DA7FBA7D-732C-4092-E85B-362F23C5A4C3}"/>
              </a:ext>
            </a:extLst>
          </p:cNvPr>
          <p:cNvSpPr>
            <a:spLocks noGrp="1"/>
          </p:cNvSpPr>
          <p:nvPr>
            <p:ph type="body" sz="quarter" idx="35" hasCustomPrompt="1"/>
          </p:nvPr>
        </p:nvSpPr>
        <p:spPr>
          <a:xfrm>
            <a:off x="548639" y="5044977"/>
            <a:ext cx="3564798"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sp>
        <p:nvSpPr>
          <p:cNvPr id="33" name="Text Placeholder 17">
            <a:extLst>
              <a:ext uri="{FF2B5EF4-FFF2-40B4-BE49-F238E27FC236}">
                <a16:creationId xmlns:a16="http://schemas.microsoft.com/office/drawing/2014/main" id="{CD07D532-2D20-6F56-252E-09E6701CF2FB}"/>
              </a:ext>
            </a:extLst>
          </p:cNvPr>
          <p:cNvSpPr>
            <a:spLocks noGrp="1"/>
          </p:cNvSpPr>
          <p:nvPr>
            <p:ph type="body" sz="quarter" idx="50" hasCustomPrompt="1"/>
          </p:nvPr>
        </p:nvSpPr>
        <p:spPr>
          <a:xfrm>
            <a:off x="4308588" y="4069549"/>
            <a:ext cx="3573463"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34" name="Text Placeholder 19">
            <a:extLst>
              <a:ext uri="{FF2B5EF4-FFF2-40B4-BE49-F238E27FC236}">
                <a16:creationId xmlns:a16="http://schemas.microsoft.com/office/drawing/2014/main" id="{B08FA241-3419-356D-A6F7-A49D42FD106F}"/>
              </a:ext>
            </a:extLst>
          </p:cNvPr>
          <p:cNvSpPr>
            <a:spLocks noGrp="1"/>
          </p:cNvSpPr>
          <p:nvPr>
            <p:ph type="body" sz="quarter" idx="51" hasCustomPrompt="1"/>
          </p:nvPr>
        </p:nvSpPr>
        <p:spPr>
          <a:xfrm>
            <a:off x="4308475" y="5044976"/>
            <a:ext cx="3573689"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sp>
        <p:nvSpPr>
          <p:cNvPr id="28" name="Text Placeholder 17">
            <a:extLst>
              <a:ext uri="{FF2B5EF4-FFF2-40B4-BE49-F238E27FC236}">
                <a16:creationId xmlns:a16="http://schemas.microsoft.com/office/drawing/2014/main" id="{08E75548-01AF-B6E0-8A94-DD96034ED75F}"/>
              </a:ext>
            </a:extLst>
          </p:cNvPr>
          <p:cNvSpPr>
            <a:spLocks noGrp="1"/>
          </p:cNvSpPr>
          <p:nvPr>
            <p:ph type="body" sz="quarter" idx="46" hasCustomPrompt="1"/>
          </p:nvPr>
        </p:nvSpPr>
        <p:spPr>
          <a:xfrm>
            <a:off x="8063023" y="4069549"/>
            <a:ext cx="3570887" cy="795970"/>
          </a:xfrm>
          <a:prstGeom prst="rect">
            <a:avLst/>
          </a:prstGeom>
        </p:spPr>
        <p:txBody>
          <a:bodyPr anchor="b" anchorCtr="0"/>
          <a:lstStyle>
            <a:lvl1pPr marL="0" indent="0" algn="ctr">
              <a:lnSpc>
                <a:spcPct val="85000"/>
              </a:lnSpc>
              <a:buNone/>
              <a:defRPr lang="en-US" sz="2800" b="1" i="0" kern="1200" spc="0" baseline="0" dirty="0">
                <a:solidFill>
                  <a:schemeClr val="accent1"/>
                </a:solidFill>
                <a:latin typeface="ServiceNow Sans" panose="020B0504040101010104" pitchFamily="34" charset="0"/>
                <a:ea typeface="+mn-ea"/>
                <a:cs typeface="ServiceNow Sans" panose="020B0504040101010104" pitchFamily="34" charset="0"/>
              </a:defRPr>
            </a:lvl1pPr>
            <a:lvl2pPr marL="284162" indent="0">
              <a:buNone/>
              <a:defRPr sz="2800"/>
            </a:lvl2pPr>
            <a:lvl3pPr marL="573087" indent="0">
              <a:buNone/>
              <a:defRPr sz="2800"/>
            </a:lvl3pPr>
            <a:lvl4pPr marL="857250" indent="0">
              <a:buNone/>
              <a:defRPr sz="2800"/>
            </a:lvl4pPr>
            <a:lvl5pPr marL="1141412" indent="0">
              <a:buNone/>
              <a:defRPr sz="2800"/>
            </a:lvl5pPr>
          </a:lstStyle>
          <a:p>
            <a:pPr marL="0" lvl="0" indent="0" algn="ctr" defTabSz="914400" rtl="0" eaLnBrk="1" latinLnBrk="0" hangingPunct="1">
              <a:lnSpc>
                <a:spcPct val="85000"/>
              </a:lnSpc>
              <a:spcBef>
                <a:spcPts val="0"/>
              </a:spcBef>
              <a:spcAft>
                <a:spcPts val="1000"/>
              </a:spcAft>
              <a:buFont typeface="ServiceNow Sans" panose="020B0504040101010104" pitchFamily="34" charset="0"/>
              <a:buNone/>
            </a:pPr>
            <a:r>
              <a:rPr lang="en-US"/>
              <a:t>Speaker First Name </a:t>
            </a:r>
            <a:br>
              <a:rPr lang="en-US"/>
            </a:br>
            <a:r>
              <a:rPr lang="en-US"/>
              <a:t>and Last Name</a:t>
            </a:r>
          </a:p>
        </p:txBody>
      </p:sp>
      <p:sp>
        <p:nvSpPr>
          <p:cNvPr id="29" name="Text Placeholder 19">
            <a:extLst>
              <a:ext uri="{FF2B5EF4-FFF2-40B4-BE49-F238E27FC236}">
                <a16:creationId xmlns:a16="http://schemas.microsoft.com/office/drawing/2014/main" id="{AE62F8A4-6A41-1475-8E4E-055A9EAAF45F}"/>
              </a:ext>
            </a:extLst>
          </p:cNvPr>
          <p:cNvSpPr>
            <a:spLocks noGrp="1"/>
          </p:cNvSpPr>
          <p:nvPr>
            <p:ph type="body" sz="quarter" idx="47" hasCustomPrompt="1"/>
          </p:nvPr>
        </p:nvSpPr>
        <p:spPr>
          <a:xfrm>
            <a:off x="8062908" y="5044976"/>
            <a:ext cx="3571113" cy="635615"/>
          </a:xfrm>
          <a:prstGeom prst="rect">
            <a:avLst/>
          </a:prstGeom>
        </p:spPr>
        <p:txBody>
          <a:bodyPr/>
          <a:lstStyle>
            <a:lvl1pPr marL="0" indent="0" algn="ctr">
              <a:lnSpc>
                <a:spcPct val="100000"/>
              </a:lnSpc>
              <a:spcBef>
                <a:spcPts val="0"/>
              </a:spcBef>
              <a:spcAft>
                <a:spcPts val="0"/>
              </a:spcAft>
              <a:buNone/>
              <a:defRPr sz="1600" spc="0" baseline="0">
                <a:solidFill>
                  <a:schemeClr val="bg1"/>
                </a:solidFill>
              </a:defRPr>
            </a:lvl1pPr>
          </a:lstStyle>
          <a:p>
            <a:pPr lvl="0"/>
            <a:r>
              <a:rPr lang="en-US"/>
              <a:t>Speaker job title</a:t>
            </a:r>
          </a:p>
          <a:p>
            <a:pPr lvl="0"/>
            <a:r>
              <a:rPr lang="en-US"/>
              <a:t>Company</a:t>
            </a:r>
          </a:p>
        </p:txBody>
      </p:sp>
      <p:pic>
        <p:nvPicPr>
          <p:cNvPr id="3" name="Picture 15">
            <a:extLst>
              <a:ext uri="{FF2B5EF4-FFF2-40B4-BE49-F238E27FC236}">
                <a16:creationId xmlns:a16="http://schemas.microsoft.com/office/drawing/2014/main" id="{4E3F24AE-DFF9-00AB-3ACF-FCD8265C591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B506D522-F218-2B03-8165-BFFEB62D41A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5" name="Picture 4">
            <a:extLst>
              <a:ext uri="{FF2B5EF4-FFF2-40B4-BE49-F238E27FC236}">
                <a16:creationId xmlns:a16="http://schemas.microsoft.com/office/drawing/2014/main" id="{41CA9FD7-B862-59E4-9D7E-F12807E2BD1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909683101"/>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bg2"/>
        </a:solidFill>
        <a:effectLst/>
      </p:bgPr>
    </p:bg>
    <p:spTree>
      <p:nvGrpSpPr>
        <p:cNvPr id="1" name=""/>
        <p:cNvGrpSpPr/>
        <p:nvPr/>
      </p:nvGrpSpPr>
      <p:grpSpPr>
        <a:xfrm>
          <a:off x="0" y="0"/>
          <a:ext cx="0" cy="0"/>
          <a:chOff x="0" y="0"/>
          <a:chExt cx="0" cy="0"/>
        </a:xfrm>
      </p:grpSpPr>
      <p:pic>
        <p:nvPicPr>
          <p:cNvPr id="3" name="Picture 2" descr="A blue and green gradient&#10;&#10;AI-generated content may be incorrect.">
            <a:extLst>
              <a:ext uri="{FF2B5EF4-FFF2-40B4-BE49-F238E27FC236}">
                <a16:creationId xmlns:a16="http://schemas.microsoft.com/office/drawing/2014/main" id="{031926C8-4078-2304-F641-271D21C1D17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hasCustomPrompt="1"/>
          </p:nvPr>
        </p:nvSpPr>
        <p:spPr>
          <a:xfrm>
            <a:off x="549275" y="545137"/>
            <a:ext cx="11082338" cy="4259147"/>
          </a:xfrm>
          <a:prstGeom prst="rect">
            <a:avLst/>
          </a:prstGeom>
        </p:spPr>
        <p:txBody>
          <a:bodyPr lIns="0" tIns="0" rIns="0" bIns="0" anchor="b" anchorCtr="0">
            <a:noAutofit/>
          </a:bodyPr>
          <a:lstStyle>
            <a:lvl1pPr marL="0" indent="0">
              <a:lnSpc>
                <a:spcPct val="85000"/>
              </a:lnSpc>
              <a:buSzPct val="80000"/>
              <a:buFontTx/>
              <a:buBlip>
                <a:blip r:embed="rId3"/>
              </a:buBlip>
              <a:defRPr sz="6000" b="0" i="0" spc="0" baseline="0">
                <a:solidFill>
                  <a:schemeClr val="bg1"/>
                </a:solidFill>
                <a:latin typeface="ServiceNow Sans Display Bold" panose="020B0804040101010104" pitchFamily="34" charset="0"/>
              </a:defRPr>
            </a:lvl1pPr>
          </a:lstStyle>
          <a:p>
            <a:br>
              <a:rPr lang="en-US"/>
            </a:br>
            <a:r>
              <a:rPr lang="en-US"/>
              <a:t>Click to edit quote</a:t>
            </a:r>
          </a:p>
        </p:txBody>
      </p:sp>
      <p:sp>
        <p:nvSpPr>
          <p:cNvPr id="5" name="Text Placeholder 4">
            <a:extLst>
              <a:ext uri="{FF2B5EF4-FFF2-40B4-BE49-F238E27FC236}">
                <a16:creationId xmlns:a16="http://schemas.microsoft.com/office/drawing/2014/main" id="{258411E4-7C7F-7B53-650B-ABA2B0768435}"/>
              </a:ext>
            </a:extLst>
          </p:cNvPr>
          <p:cNvSpPr>
            <a:spLocks noGrp="1"/>
          </p:cNvSpPr>
          <p:nvPr>
            <p:ph type="body" sz="quarter" idx="10"/>
          </p:nvPr>
        </p:nvSpPr>
        <p:spPr>
          <a:xfrm>
            <a:off x="549275" y="5109411"/>
            <a:ext cx="11087100" cy="217004"/>
          </a:xfrm>
          <a:prstGeom prst="rect">
            <a:avLst/>
          </a:prstGeom>
        </p:spPr>
        <p:txBody>
          <a:bodyPr/>
          <a:lstStyle>
            <a:lvl1pPr marL="0" indent="0" algn="l" defTabSz="914400" rtl="0" eaLnBrk="1" latinLnBrk="0" hangingPunct="1">
              <a:lnSpc>
                <a:spcPct val="90000"/>
              </a:lnSpc>
              <a:spcBef>
                <a:spcPts val="0"/>
              </a:spcBef>
              <a:spcAft>
                <a:spcPts val="200"/>
              </a:spcAft>
              <a:buFontTx/>
              <a:buNone/>
              <a:defRPr lang="en-US" sz="2000" b="0" i="0" kern="1200" spc="0" baseline="0" dirty="0">
                <a:solidFill>
                  <a:schemeClr val="bg1"/>
                </a:solidFill>
                <a:latin typeface="ServiceNow Sans Medium" panose="020B0704040101010104" pitchFamily="34" charset="0"/>
                <a:ea typeface="+mn-ea"/>
                <a:cs typeface="ServiceNow Sans Medium" panose="020B0704040101010104" pitchFamily="34" charset="0"/>
              </a:defRPr>
            </a:lvl1pPr>
          </a:lstStyle>
          <a:p>
            <a:pPr lvl="0"/>
            <a:endParaRPr lang="en-US"/>
          </a:p>
        </p:txBody>
      </p:sp>
      <p:sp>
        <p:nvSpPr>
          <p:cNvPr id="4" name="Text Placeholder 4">
            <a:extLst>
              <a:ext uri="{FF2B5EF4-FFF2-40B4-BE49-F238E27FC236}">
                <a16:creationId xmlns:a16="http://schemas.microsoft.com/office/drawing/2014/main" id="{49ECC81F-9B05-711B-D2BE-4DF0066B38DA}"/>
              </a:ext>
            </a:extLst>
          </p:cNvPr>
          <p:cNvSpPr>
            <a:spLocks noGrp="1"/>
          </p:cNvSpPr>
          <p:nvPr>
            <p:ph type="body" sz="quarter" idx="11"/>
          </p:nvPr>
        </p:nvSpPr>
        <p:spPr>
          <a:xfrm>
            <a:off x="549275" y="5477181"/>
            <a:ext cx="11087100" cy="518276"/>
          </a:xfrm>
          <a:prstGeom prst="rect">
            <a:avLst/>
          </a:prstGeom>
        </p:spPr>
        <p:txBody>
          <a:bodyPr/>
          <a:lstStyle>
            <a:lvl1pPr>
              <a:lnSpc>
                <a:spcPct val="100000"/>
              </a:lnSpc>
              <a:buNone/>
              <a:defRPr sz="1600" b="0" i="0">
                <a:solidFill>
                  <a:schemeClr val="bg1"/>
                </a:solidFill>
                <a:latin typeface="ServiceNow Sans Light" panose="020B0404040101010104" pitchFamily="34" charset="77"/>
                <a:cs typeface="ServiceNow Sans Light" panose="020B0404040101010104" pitchFamily="34" charset="77"/>
              </a:defRPr>
            </a:lvl1pPr>
          </a:lstStyle>
          <a:p>
            <a:pPr lvl="0"/>
            <a:endParaRPr lang="en-US"/>
          </a:p>
        </p:txBody>
      </p:sp>
      <p:pic>
        <p:nvPicPr>
          <p:cNvPr id="6" name="Picture 15">
            <a:extLst>
              <a:ext uri="{FF2B5EF4-FFF2-40B4-BE49-F238E27FC236}">
                <a16:creationId xmlns:a16="http://schemas.microsoft.com/office/drawing/2014/main" id="{2EF4ACD2-C9EC-3D2D-C80E-C55F1C53A19C}"/>
              </a:ext>
              <a:ext uri="{C183D7F6-B498-43B3-948B-1728B52AA6E4}">
                <adec:decorative xmlns:adec="http://schemas.microsoft.com/office/drawing/2017/decorative" val="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D8DE2311-B6E2-F757-0613-438F3668041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1711049593"/>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tement Green">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F577923B-7558-B9AA-DFC4-AE1DD0B1B2D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endParaRPr lang="en-US"/>
          </a:p>
        </p:txBody>
      </p:sp>
      <p:pic>
        <p:nvPicPr>
          <p:cNvPr id="4" name="Picture 15">
            <a:extLst>
              <a:ext uri="{FF2B5EF4-FFF2-40B4-BE49-F238E27FC236}">
                <a16:creationId xmlns:a16="http://schemas.microsoft.com/office/drawing/2014/main" id="{60E6181D-A3AE-D946-7C54-181E38476DE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9EBBFA8E-87E9-FC94-2D65-A655EB2E5D4C}"/>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31815483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tement Blue">
    <p:bg>
      <p:bgPr>
        <a:solidFill>
          <a:schemeClr val="bg2"/>
        </a:solidFill>
        <a:effectLst/>
      </p:bgPr>
    </p:bg>
    <p:spTree>
      <p:nvGrpSpPr>
        <p:cNvPr id="1" name=""/>
        <p:cNvGrpSpPr/>
        <p:nvPr/>
      </p:nvGrpSpPr>
      <p:grpSpPr>
        <a:xfrm>
          <a:off x="0" y="0"/>
          <a:ext cx="0" cy="0"/>
          <a:chOff x="0" y="0"/>
          <a:chExt cx="0" cy="0"/>
        </a:xfrm>
      </p:grpSpPr>
      <p:pic>
        <p:nvPicPr>
          <p:cNvPr id="2" name="Picture 1" descr="A blue and white background&#10;&#10;AI-generated content may be incorrect.">
            <a:extLst>
              <a:ext uri="{FF2B5EF4-FFF2-40B4-BE49-F238E27FC236}">
                <a16:creationId xmlns:a16="http://schemas.microsoft.com/office/drawing/2014/main" id="{AFCA4208-EB0C-030C-F79E-0C9FF6BD91A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endParaRPr lang="en-US"/>
          </a:p>
        </p:txBody>
      </p:sp>
      <p:pic>
        <p:nvPicPr>
          <p:cNvPr id="4" name="Picture 15">
            <a:extLst>
              <a:ext uri="{FF2B5EF4-FFF2-40B4-BE49-F238E27FC236}">
                <a16:creationId xmlns:a16="http://schemas.microsoft.com/office/drawing/2014/main" id="{B7019559-BF9D-880A-8815-48DFE5ECF3F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88D8A5D-E217-9E4B-C115-1E17D5AC32C2}"/>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88657883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Indigo">
    <p:bg>
      <p:bgPr>
        <a:solidFill>
          <a:schemeClr val="bg2"/>
        </a:solidFill>
        <a:effectLst/>
      </p:bgPr>
    </p:bg>
    <p:spTree>
      <p:nvGrpSpPr>
        <p:cNvPr id="1" name=""/>
        <p:cNvGrpSpPr/>
        <p:nvPr/>
      </p:nvGrpSpPr>
      <p:grpSpPr>
        <a:xfrm>
          <a:off x="0" y="0"/>
          <a:ext cx="0" cy="0"/>
          <a:chOff x="0" y="0"/>
          <a:chExt cx="0" cy="0"/>
        </a:xfrm>
      </p:grpSpPr>
      <p:pic>
        <p:nvPicPr>
          <p:cNvPr id="2" name="Picture 1" descr="A blue and purple background&#10;&#10;AI-generated content may be incorrect.">
            <a:extLst>
              <a:ext uri="{FF2B5EF4-FFF2-40B4-BE49-F238E27FC236}">
                <a16:creationId xmlns:a16="http://schemas.microsoft.com/office/drawing/2014/main" id="{D147C0E5-A43C-9EAE-1D73-2A853520D2C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E49F5C0-51B8-9C94-473E-5AB10D41B80B}"/>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endParaRPr lang="en-US"/>
          </a:p>
        </p:txBody>
      </p:sp>
      <p:pic>
        <p:nvPicPr>
          <p:cNvPr id="4" name="Picture 15">
            <a:extLst>
              <a:ext uri="{FF2B5EF4-FFF2-40B4-BE49-F238E27FC236}">
                <a16:creationId xmlns:a16="http://schemas.microsoft.com/office/drawing/2014/main" id="{6ED21447-F91B-027A-A985-5F5FEE79565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1E2C641-C770-23C5-B4F2-382C52453F3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273395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24A862F0-CF34-0E88-A154-7B54B4A9232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a:t>
            </a:r>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15">
            <a:extLst>
              <a:ext uri="{FF2B5EF4-FFF2-40B4-BE49-F238E27FC236}">
                <a16:creationId xmlns:a16="http://schemas.microsoft.com/office/drawing/2014/main" id="{7DFDEC57-F43E-BE8F-BDFD-4DB545A55D3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65BC614A-3BD9-FF52-9C5D-AEABEC69A36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2635618058"/>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bg2"/>
        </a:solidFill>
        <a:effectLst/>
      </p:bgPr>
    </p:bg>
    <p:spTree>
      <p:nvGrpSpPr>
        <p:cNvPr id="1" name=""/>
        <p:cNvGrpSpPr/>
        <p:nvPr/>
      </p:nvGrpSpPr>
      <p:grpSpPr>
        <a:xfrm>
          <a:off x="0" y="0"/>
          <a:ext cx="0" cy="0"/>
          <a:chOff x="0" y="0"/>
          <a:chExt cx="0" cy="0"/>
        </a:xfrm>
      </p:grpSpPr>
      <p:pic>
        <p:nvPicPr>
          <p:cNvPr id="4" name="Picture 3" descr="A blue and white background&#10;&#10;AI-generated content may be incorrect.">
            <a:extLst>
              <a:ext uri="{FF2B5EF4-FFF2-40B4-BE49-F238E27FC236}">
                <a16:creationId xmlns:a16="http://schemas.microsoft.com/office/drawing/2014/main" id="{AD5A4411-0F9B-83C1-73A0-B0E97DF202B0}"/>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a:t>
            </a:r>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15">
            <a:extLst>
              <a:ext uri="{FF2B5EF4-FFF2-40B4-BE49-F238E27FC236}">
                <a16:creationId xmlns:a16="http://schemas.microsoft.com/office/drawing/2014/main" id="{8FA23932-9A21-AF71-3C84-9F26CE73698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B149C56-DDDB-BA27-E746-EDCFF9DE098D}"/>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3711956735"/>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Indigo">
    <p:bg>
      <p:bgPr>
        <a:solidFill>
          <a:schemeClr val="bg2"/>
        </a:solidFill>
        <a:effectLst/>
      </p:bgPr>
    </p:bg>
    <p:spTree>
      <p:nvGrpSpPr>
        <p:cNvPr id="1" name=""/>
        <p:cNvGrpSpPr/>
        <p:nvPr/>
      </p:nvGrpSpPr>
      <p:grpSpPr>
        <a:xfrm>
          <a:off x="0" y="0"/>
          <a:ext cx="0" cy="0"/>
          <a:chOff x="0" y="0"/>
          <a:chExt cx="0" cy="0"/>
        </a:xfrm>
      </p:grpSpPr>
      <p:pic>
        <p:nvPicPr>
          <p:cNvPr id="7" name="Picture 6" descr="A blue and black background&#10;&#10;AI-generated content may be incorrect.">
            <a:extLst>
              <a:ext uri="{FF2B5EF4-FFF2-40B4-BE49-F238E27FC236}">
                <a16:creationId xmlns:a16="http://schemas.microsoft.com/office/drawing/2014/main" id="{663B3B20-E320-D957-D0A3-65BC777761A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Title 1">
            <a:extLst>
              <a:ext uri="{FF2B5EF4-FFF2-40B4-BE49-F238E27FC236}">
                <a16:creationId xmlns:a16="http://schemas.microsoft.com/office/drawing/2014/main" id="{37324BE9-AEBB-C3F2-A954-99C88B234217}"/>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a:t>
            </a:r>
          </a:p>
        </p:txBody>
      </p:sp>
      <p:sp>
        <p:nvSpPr>
          <p:cNvPr id="2" name="Subtitle 2">
            <a:extLst>
              <a:ext uri="{FF2B5EF4-FFF2-40B4-BE49-F238E27FC236}">
                <a16:creationId xmlns:a16="http://schemas.microsoft.com/office/drawing/2014/main" id="{3FE8D7A7-638C-DE5B-1DDF-028878C2D871}"/>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15">
            <a:extLst>
              <a:ext uri="{FF2B5EF4-FFF2-40B4-BE49-F238E27FC236}">
                <a16:creationId xmlns:a16="http://schemas.microsoft.com/office/drawing/2014/main" id="{AFAC76B1-B3CF-40EC-4BA5-DCEBA0A0247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4975085A-C0B9-7C14-BAB7-1D4045F840F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11969509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Green_Confidential">
    <p:bg>
      <p:bgPr>
        <a:solidFill>
          <a:schemeClr val="bg2"/>
        </a:solidFill>
        <a:effectLst/>
      </p:bgPr>
    </p:bg>
    <p:spTree>
      <p:nvGrpSpPr>
        <p:cNvPr id="1" name=""/>
        <p:cNvGrpSpPr/>
        <p:nvPr/>
      </p:nvGrpSpPr>
      <p:grpSpPr>
        <a:xfrm>
          <a:off x="0" y="0"/>
          <a:ext cx="0" cy="0"/>
          <a:chOff x="0" y="0"/>
          <a:chExt cx="0" cy="0"/>
        </a:xfrm>
      </p:grpSpPr>
      <p:pic>
        <p:nvPicPr>
          <p:cNvPr id="9" name="Picture 8" descr="A blue and green gradient&#10;&#10;AI-generated content may be incorrect.">
            <a:extLst>
              <a:ext uri="{FF2B5EF4-FFF2-40B4-BE49-F238E27FC236}">
                <a16:creationId xmlns:a16="http://schemas.microsoft.com/office/drawing/2014/main" id="{0AC8F0C0-BC4D-C2F8-35BE-5EED1971631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1" name="Graphic 10">
            <a:extLst>
              <a:ext uri="{FF2B5EF4-FFF2-40B4-BE49-F238E27FC236}">
                <a16:creationId xmlns:a16="http://schemas.microsoft.com/office/drawing/2014/main" id="{6A72D853-988D-AAAD-98E7-D50763120BB0}"/>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6" name="Title 4">
            <a:extLst>
              <a:ext uri="{FF2B5EF4-FFF2-40B4-BE49-F238E27FC236}">
                <a16:creationId xmlns:a16="http://schemas.microsoft.com/office/drawing/2014/main" id="{FCCA1862-A1A1-DD00-41B3-A328DAE90086}"/>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7" name="Text Placeholder 49">
            <a:extLst>
              <a:ext uri="{FF2B5EF4-FFF2-40B4-BE49-F238E27FC236}">
                <a16:creationId xmlns:a16="http://schemas.microsoft.com/office/drawing/2014/main" id="{4708FDFD-8AC9-A2DF-1000-39DFE0E90530}"/>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8" name="Text Placeholder 51">
            <a:extLst>
              <a:ext uri="{FF2B5EF4-FFF2-40B4-BE49-F238E27FC236}">
                <a16:creationId xmlns:a16="http://schemas.microsoft.com/office/drawing/2014/main" id="{6495CAC7-B999-B5D9-D1D3-D0EF47E8C9E5}"/>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
        <p:nvSpPr>
          <p:cNvPr id="10" name="TextBox 9">
            <a:extLst>
              <a:ext uri="{FF2B5EF4-FFF2-40B4-BE49-F238E27FC236}">
                <a16:creationId xmlns:a16="http://schemas.microsoft.com/office/drawing/2014/main" id="{BF3B67E9-2905-D718-A854-80B17E63661B}"/>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dirty="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34012134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eighted Left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0FCFFB5E-FD75-4640-CA7E-639BCBD59332}"/>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5" name="Title Placeholder 1">
            <a:extLst>
              <a:ext uri="{FF2B5EF4-FFF2-40B4-BE49-F238E27FC236}">
                <a16:creationId xmlns:a16="http://schemas.microsoft.com/office/drawing/2014/main" id="{F10AF4D1-AC90-77BD-2CEB-EF6358C2C950}"/>
              </a:ext>
            </a:extLst>
          </p:cNvPr>
          <p:cNvSpPr>
            <a:spLocks noGrp="1"/>
          </p:cNvSpPr>
          <p:nvPr>
            <p:ph type="title"/>
          </p:nvPr>
        </p:nvSpPr>
        <p:spPr>
          <a:xfrm>
            <a:off x="7127875" y="549304"/>
            <a:ext cx="4505961"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endParaRPr lang="en-US"/>
          </a:p>
        </p:txBody>
      </p:sp>
      <p:sp>
        <p:nvSpPr>
          <p:cNvPr id="8" name="Subtitle 2">
            <a:extLst>
              <a:ext uri="{FF2B5EF4-FFF2-40B4-BE49-F238E27FC236}">
                <a16:creationId xmlns:a16="http://schemas.microsoft.com/office/drawing/2014/main" id="{2DAD66D3-7B5D-AAD1-59DD-61975F904650}"/>
              </a:ext>
            </a:extLst>
          </p:cNvPr>
          <p:cNvSpPr>
            <a:spLocks noGrp="1"/>
          </p:cNvSpPr>
          <p:nvPr>
            <p:ph type="subTitle" idx="1" hasCustomPrompt="1"/>
          </p:nvPr>
        </p:nvSpPr>
        <p:spPr>
          <a:xfrm>
            <a:off x="7127875" y="2679192"/>
            <a:ext cx="4505960"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Text Placeholder 9">
            <a:extLst>
              <a:ext uri="{FF2B5EF4-FFF2-40B4-BE49-F238E27FC236}">
                <a16:creationId xmlns:a16="http://schemas.microsoft.com/office/drawing/2014/main" id="{BEB4A520-4AB4-CC21-79D7-943D5670E7B1}"/>
              </a:ext>
            </a:extLst>
          </p:cNvPr>
          <p:cNvSpPr>
            <a:spLocks noGrp="1"/>
          </p:cNvSpPr>
          <p:nvPr>
            <p:ph type="body" sz="quarter" idx="14"/>
          </p:nvPr>
        </p:nvSpPr>
        <p:spPr>
          <a:xfrm>
            <a:off x="7127875" y="3371850"/>
            <a:ext cx="4508500"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15">
            <a:extLst>
              <a:ext uri="{FF2B5EF4-FFF2-40B4-BE49-F238E27FC236}">
                <a16:creationId xmlns:a16="http://schemas.microsoft.com/office/drawing/2014/main" id="{498C7A9C-8675-46E8-947E-B06DDDD123E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BB5F778-CAA3-8302-995E-46A2CAD07A1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B62F6BD5-369A-685E-D598-A028C15815F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3440486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eighted Right Content">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FBE9F6A0-0D12-F0E6-B673-F9A504A72662}"/>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9" name="Title Placeholder 1">
            <a:extLst>
              <a:ext uri="{FF2B5EF4-FFF2-40B4-BE49-F238E27FC236}">
                <a16:creationId xmlns:a16="http://schemas.microsoft.com/office/drawing/2014/main" id="{81263ADE-3D5D-1B56-C05D-9FC9268EF9BA}"/>
              </a:ext>
            </a:extLst>
          </p:cNvPr>
          <p:cNvSpPr>
            <a:spLocks noGrp="1"/>
          </p:cNvSpPr>
          <p:nvPr>
            <p:ph type="title"/>
          </p:nvPr>
        </p:nvSpPr>
        <p:spPr>
          <a:xfrm>
            <a:off x="548640" y="552798"/>
            <a:ext cx="4708526"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endParaRPr lang="en-US"/>
          </a:p>
        </p:txBody>
      </p:sp>
      <p:sp>
        <p:nvSpPr>
          <p:cNvPr id="11" name="Subtitle 2">
            <a:extLst>
              <a:ext uri="{FF2B5EF4-FFF2-40B4-BE49-F238E27FC236}">
                <a16:creationId xmlns:a16="http://schemas.microsoft.com/office/drawing/2014/main" id="{B68115B3-F922-E3EE-B934-71FD40929CCE}"/>
              </a:ext>
            </a:extLst>
          </p:cNvPr>
          <p:cNvSpPr>
            <a:spLocks noGrp="1"/>
          </p:cNvSpPr>
          <p:nvPr>
            <p:ph type="subTitle" idx="1" hasCustomPrompt="1"/>
          </p:nvPr>
        </p:nvSpPr>
        <p:spPr>
          <a:xfrm>
            <a:off x="548640" y="2675834"/>
            <a:ext cx="4705986" cy="537266"/>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10" name="Text Placeholder 9">
            <a:extLst>
              <a:ext uri="{FF2B5EF4-FFF2-40B4-BE49-F238E27FC236}">
                <a16:creationId xmlns:a16="http://schemas.microsoft.com/office/drawing/2014/main" id="{33760FE8-534E-D18F-728C-6ADFA656AE2F}"/>
              </a:ext>
            </a:extLst>
          </p:cNvPr>
          <p:cNvSpPr>
            <a:spLocks noGrp="1"/>
          </p:cNvSpPr>
          <p:nvPr>
            <p:ph type="body" sz="quarter" idx="14"/>
          </p:nvPr>
        </p:nvSpPr>
        <p:spPr>
          <a:xfrm>
            <a:off x="549274" y="3371850"/>
            <a:ext cx="4705351"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15">
            <a:extLst>
              <a:ext uri="{FF2B5EF4-FFF2-40B4-BE49-F238E27FC236}">
                <a16:creationId xmlns:a16="http://schemas.microsoft.com/office/drawing/2014/main" id="{2BAB24CE-AD75-835A-66C8-A1C52B3BAF7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4" name="Slide Number Placeholder 5">
            <a:extLst>
              <a:ext uri="{FF2B5EF4-FFF2-40B4-BE49-F238E27FC236}">
                <a16:creationId xmlns:a16="http://schemas.microsoft.com/office/drawing/2014/main" id="{9244617B-1C75-95D7-9BB0-65A4E4F191D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5" name="Picture 4">
            <a:extLst>
              <a:ext uri="{FF2B5EF4-FFF2-40B4-BE49-F238E27FC236}">
                <a16:creationId xmlns:a16="http://schemas.microsoft.com/office/drawing/2014/main" id="{18470500-3F47-0A53-C433-AD203BB1F085}"/>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78002512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eighted Right Graphic">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6E498CE-390C-2811-24F2-D35C9901974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76288"/>
          </a:xfrm>
          <a:prstGeom prst="rect">
            <a:avLst/>
          </a:prstGeom>
        </p:spPr>
      </p:pic>
      <p:sp>
        <p:nvSpPr>
          <p:cNvPr id="4" name="Rounded Rectangle 4">
            <a:extLst>
              <a:ext uri="{FF2B5EF4-FFF2-40B4-BE49-F238E27FC236}">
                <a16:creationId xmlns:a16="http://schemas.microsoft.com/office/drawing/2014/main" id="{64AA4BB8-2B90-1372-A73D-7E3B12541336}"/>
              </a:ext>
              <a:ext uri="{C183D7F6-B498-43B3-948B-1728B52AA6E4}">
                <adec:decorative xmlns:adec="http://schemas.microsoft.com/office/drawing/2017/decorative" val="1"/>
              </a:ext>
            </a:extLst>
          </p:cNvPr>
          <p:cNvSpPr/>
          <p:nvPr userDrawn="1"/>
        </p:nvSpPr>
        <p:spPr>
          <a:xfrm>
            <a:off x="5440680" y="549551"/>
            <a:ext cx="6198023" cy="5635349"/>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 name="Subtitle 2">
            <a:extLst>
              <a:ext uri="{FF2B5EF4-FFF2-40B4-BE49-F238E27FC236}">
                <a16:creationId xmlns:a16="http://schemas.microsoft.com/office/drawing/2014/main" id="{67B88B9F-154D-0340-14B7-A8055A5C4FA6}"/>
              </a:ext>
            </a:extLst>
          </p:cNvPr>
          <p:cNvSpPr>
            <a:spLocks noGrp="1"/>
          </p:cNvSpPr>
          <p:nvPr>
            <p:ph type="subTitle" idx="1"/>
          </p:nvPr>
        </p:nvSpPr>
        <p:spPr>
          <a:xfrm>
            <a:off x="548641" y="2679192"/>
            <a:ext cx="4705986"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 Placeholder 9">
            <a:extLst>
              <a:ext uri="{FF2B5EF4-FFF2-40B4-BE49-F238E27FC236}">
                <a16:creationId xmlns:a16="http://schemas.microsoft.com/office/drawing/2014/main" id="{50438592-483E-C7A2-2B48-AA337F53868E}"/>
              </a:ext>
            </a:extLst>
          </p:cNvPr>
          <p:cNvSpPr>
            <a:spLocks noGrp="1"/>
          </p:cNvSpPr>
          <p:nvPr>
            <p:ph type="body" sz="quarter" idx="14"/>
          </p:nvPr>
        </p:nvSpPr>
        <p:spPr>
          <a:xfrm>
            <a:off x="549274" y="3371850"/>
            <a:ext cx="4705351"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5">
            <a:extLst>
              <a:ext uri="{FF2B5EF4-FFF2-40B4-BE49-F238E27FC236}">
                <a16:creationId xmlns:a16="http://schemas.microsoft.com/office/drawing/2014/main" id="{D1E03ECE-510D-BE5E-A67D-F11B49E9737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2" name="Slide Number Placeholder 5">
            <a:extLst>
              <a:ext uri="{FF2B5EF4-FFF2-40B4-BE49-F238E27FC236}">
                <a16:creationId xmlns:a16="http://schemas.microsoft.com/office/drawing/2014/main" id="{6C9DE529-ED35-8925-F9BC-1D435BF2CAB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
        <p:nvSpPr>
          <p:cNvPr id="2" name="Content Placeholder 5">
            <a:extLst>
              <a:ext uri="{FF2B5EF4-FFF2-40B4-BE49-F238E27FC236}">
                <a16:creationId xmlns:a16="http://schemas.microsoft.com/office/drawing/2014/main" id="{5D446322-4164-49A8-9BF7-6FF194103250}"/>
              </a:ext>
              <a:ext uri="{C183D7F6-B498-43B3-948B-1728B52AA6E4}">
                <adec:decorative xmlns:adec="http://schemas.microsoft.com/office/drawing/2017/decorative" val="1"/>
              </a:ext>
            </a:extLst>
          </p:cNvPr>
          <p:cNvSpPr>
            <a:spLocks noGrp="1"/>
          </p:cNvSpPr>
          <p:nvPr>
            <p:ph sz="quarter" idx="11"/>
          </p:nvPr>
        </p:nvSpPr>
        <p:spPr bwMode="invGray">
          <a:xfrm>
            <a:off x="5542754"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US"/>
              <a:t>Click to edit</a:t>
            </a:r>
          </a:p>
        </p:txBody>
      </p:sp>
      <p:sp>
        <p:nvSpPr>
          <p:cNvPr id="5" name="Title 4">
            <a:extLst>
              <a:ext uri="{FF2B5EF4-FFF2-40B4-BE49-F238E27FC236}">
                <a16:creationId xmlns:a16="http://schemas.microsoft.com/office/drawing/2014/main" id="{AE16A644-0F66-D4A3-C593-B09DD3254C69}"/>
              </a:ext>
            </a:extLst>
          </p:cNvPr>
          <p:cNvSpPr>
            <a:spLocks noGrp="1"/>
          </p:cNvSpPr>
          <p:nvPr>
            <p:ph type="title" hasCustomPrompt="1"/>
          </p:nvPr>
        </p:nvSpPr>
        <p:spPr>
          <a:xfrm>
            <a:off x="548641" y="549551"/>
            <a:ext cx="4705986" cy="2066543"/>
          </a:xfrm>
        </p:spPr>
        <p:txBody>
          <a:bodyPr anchor="b"/>
          <a:lstStyle>
            <a:lvl1pPr>
              <a:defRPr sz="3600">
                <a:solidFill>
                  <a:schemeClr val="accent1"/>
                </a:solidFill>
              </a:defRPr>
            </a:lvl1pPr>
          </a:lstStyle>
          <a:p>
            <a:r>
              <a:rPr lang="en-US"/>
              <a:t>Click to add title</a:t>
            </a:r>
          </a:p>
        </p:txBody>
      </p:sp>
      <p:pic>
        <p:nvPicPr>
          <p:cNvPr id="7" name="Picture 6">
            <a:extLst>
              <a:ext uri="{FF2B5EF4-FFF2-40B4-BE49-F238E27FC236}">
                <a16:creationId xmlns:a16="http://schemas.microsoft.com/office/drawing/2014/main" id="{7C8BC37E-7407-77F4-7B3F-D0710401FE7C}"/>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4044705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eighted Left Graphic">
    <p:bg>
      <p:bgPr>
        <a:solidFill>
          <a:schemeClr val="bg2"/>
        </a:solidFill>
        <a:effectLst/>
      </p:bgPr>
    </p:bg>
    <p:spTree>
      <p:nvGrpSpPr>
        <p:cNvPr id="1" name=""/>
        <p:cNvGrpSpPr/>
        <p:nvPr/>
      </p:nvGrpSpPr>
      <p:grpSpPr>
        <a:xfrm>
          <a:off x="0" y="0"/>
          <a:ext cx="0" cy="0"/>
          <a:chOff x="0" y="0"/>
          <a:chExt cx="0" cy="0"/>
        </a:xfrm>
      </p:grpSpPr>
      <p:pic>
        <p:nvPicPr>
          <p:cNvPr id="7" name="Picture 6" descr="A blue and green background&#10;&#10;AI-generated content may be incorrect.">
            <a:extLst>
              <a:ext uri="{FF2B5EF4-FFF2-40B4-BE49-F238E27FC236}">
                <a16:creationId xmlns:a16="http://schemas.microsoft.com/office/drawing/2014/main" id="{8E399009-36DD-2E47-1758-98F32D97C64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4">
            <a:extLst>
              <a:ext uri="{FF2B5EF4-FFF2-40B4-BE49-F238E27FC236}">
                <a16:creationId xmlns:a16="http://schemas.microsoft.com/office/drawing/2014/main" id="{73DF4A29-42FE-194E-745F-9A77294E21D0}"/>
              </a:ext>
              <a:ext uri="{C183D7F6-B498-43B3-948B-1728B52AA6E4}">
                <adec:decorative xmlns:adec="http://schemas.microsoft.com/office/drawing/2017/decorative" val="1"/>
              </a:ext>
            </a:extLst>
          </p:cNvPr>
          <p:cNvSpPr/>
          <p:nvPr userDrawn="1"/>
        </p:nvSpPr>
        <p:spPr>
          <a:xfrm>
            <a:off x="546099" y="549275"/>
            <a:ext cx="6198023" cy="5632704"/>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5" name="Content Placeholder 5">
            <a:extLst>
              <a:ext uri="{FF2B5EF4-FFF2-40B4-BE49-F238E27FC236}">
                <a16:creationId xmlns:a16="http://schemas.microsoft.com/office/drawing/2014/main" id="{81F30B64-0B24-CDA0-E9C1-8FF5BD6DE5BC}"/>
              </a:ext>
              <a:ext uri="{C183D7F6-B498-43B3-948B-1728B52AA6E4}">
                <adec:decorative xmlns:adec="http://schemas.microsoft.com/office/drawing/2017/decorative" val="1"/>
              </a:ext>
            </a:extLst>
          </p:cNvPr>
          <p:cNvSpPr>
            <a:spLocks noGrp="1"/>
          </p:cNvSpPr>
          <p:nvPr>
            <p:ph sz="quarter" idx="11"/>
          </p:nvPr>
        </p:nvSpPr>
        <p:spPr bwMode="invGray">
          <a:xfrm>
            <a:off x="650501"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US"/>
              <a:t>Click to edit</a:t>
            </a:r>
          </a:p>
        </p:txBody>
      </p:sp>
      <p:sp>
        <p:nvSpPr>
          <p:cNvPr id="11" name="Title Placeholder 1">
            <a:extLst>
              <a:ext uri="{FF2B5EF4-FFF2-40B4-BE49-F238E27FC236}">
                <a16:creationId xmlns:a16="http://schemas.microsoft.com/office/drawing/2014/main" id="{5A016A90-20DF-68A2-6D3E-8F2A7E80B38F}"/>
              </a:ext>
            </a:extLst>
          </p:cNvPr>
          <p:cNvSpPr>
            <a:spLocks noGrp="1"/>
          </p:cNvSpPr>
          <p:nvPr>
            <p:ph type="title"/>
          </p:nvPr>
        </p:nvSpPr>
        <p:spPr>
          <a:xfrm>
            <a:off x="7127874" y="549275"/>
            <a:ext cx="4514852"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endParaRPr lang="en-US"/>
          </a:p>
        </p:txBody>
      </p:sp>
      <p:sp>
        <p:nvSpPr>
          <p:cNvPr id="3" name="Subtitle 2">
            <a:extLst>
              <a:ext uri="{FF2B5EF4-FFF2-40B4-BE49-F238E27FC236}">
                <a16:creationId xmlns:a16="http://schemas.microsoft.com/office/drawing/2014/main" id="{3A073398-5049-A061-DAA7-D754E169ECF0}"/>
              </a:ext>
            </a:extLst>
          </p:cNvPr>
          <p:cNvSpPr>
            <a:spLocks noGrp="1"/>
          </p:cNvSpPr>
          <p:nvPr>
            <p:ph type="subTitle" idx="1"/>
          </p:nvPr>
        </p:nvSpPr>
        <p:spPr>
          <a:xfrm>
            <a:off x="7127875" y="2679192"/>
            <a:ext cx="4514852"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 Placeholder 9">
            <a:extLst>
              <a:ext uri="{FF2B5EF4-FFF2-40B4-BE49-F238E27FC236}">
                <a16:creationId xmlns:a16="http://schemas.microsoft.com/office/drawing/2014/main" id="{537CB648-B80B-9A00-C8B4-703842420EA0}"/>
              </a:ext>
            </a:extLst>
          </p:cNvPr>
          <p:cNvSpPr>
            <a:spLocks noGrp="1"/>
          </p:cNvSpPr>
          <p:nvPr>
            <p:ph type="body" sz="quarter" idx="14"/>
          </p:nvPr>
        </p:nvSpPr>
        <p:spPr>
          <a:xfrm>
            <a:off x="7127874" y="3371850"/>
            <a:ext cx="4508501"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15">
            <a:extLst>
              <a:ext uri="{FF2B5EF4-FFF2-40B4-BE49-F238E27FC236}">
                <a16:creationId xmlns:a16="http://schemas.microsoft.com/office/drawing/2014/main" id="{8F4E6225-88C5-7E4C-D695-21CB37DC1CD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DE1ABF3D-72CA-BD8C-D351-6496E8BE490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6" name="Picture 5">
            <a:extLst>
              <a:ext uri="{FF2B5EF4-FFF2-40B4-BE49-F238E27FC236}">
                <a16:creationId xmlns:a16="http://schemas.microsoft.com/office/drawing/2014/main" id="{7AB83968-F3B6-C95A-3516-6735AAE70BD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4420014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eighted Right Photo">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82EFFC50-F3C3-F69D-CAC1-B94C062D451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4">
            <a:extLst>
              <a:ext uri="{FF2B5EF4-FFF2-40B4-BE49-F238E27FC236}">
                <a16:creationId xmlns:a16="http://schemas.microsoft.com/office/drawing/2014/main" id="{13F22916-BBD8-E47E-F84A-F874D358EAD6}"/>
              </a:ext>
              <a:ext uri="{C183D7F6-B498-43B3-948B-1728B52AA6E4}">
                <adec:decorative xmlns:adec="http://schemas.microsoft.com/office/drawing/2017/decorative" val="1"/>
              </a:ext>
            </a:extLst>
          </p:cNvPr>
          <p:cNvSpPr/>
          <p:nvPr userDrawn="1"/>
        </p:nvSpPr>
        <p:spPr>
          <a:xfrm>
            <a:off x="5438352" y="549274"/>
            <a:ext cx="6198023" cy="5634779"/>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9" name="Picture Placeholder 8">
            <a:extLst>
              <a:ext uri="{FF2B5EF4-FFF2-40B4-BE49-F238E27FC236}">
                <a16:creationId xmlns:a16="http://schemas.microsoft.com/office/drawing/2014/main" id="{2C5D6F28-4C1C-30BB-9950-0DDDF286D180}"/>
              </a:ext>
            </a:extLst>
          </p:cNvPr>
          <p:cNvSpPr>
            <a:spLocks noGrp="1"/>
          </p:cNvSpPr>
          <p:nvPr>
            <p:ph type="pic" sz="quarter" idx="13" hasCustomPrompt="1"/>
          </p:nvPr>
        </p:nvSpPr>
        <p:spPr>
          <a:xfrm>
            <a:off x="5542754" y="657922"/>
            <a:ext cx="5989320" cy="5413248"/>
          </a:xfrm>
          <a:prstGeom prst="roundRect">
            <a:avLst>
              <a:gd name="adj" fmla="val 1330"/>
            </a:avLst>
          </a:prstGeom>
        </p:spPr>
        <p:txBody>
          <a:bodyPr/>
          <a:lstStyle/>
          <a:p>
            <a:r>
              <a:rPr lang="en-US" dirty="0"/>
              <a:t>Click to edit</a:t>
            </a:r>
          </a:p>
        </p:txBody>
      </p:sp>
      <p:sp>
        <p:nvSpPr>
          <p:cNvPr id="15" name="Title 1">
            <a:extLst>
              <a:ext uri="{FF2B5EF4-FFF2-40B4-BE49-F238E27FC236}">
                <a16:creationId xmlns:a16="http://schemas.microsoft.com/office/drawing/2014/main" id="{32114F39-24A1-EA74-0A3E-C7DA5EF17CD4}"/>
              </a:ext>
            </a:extLst>
          </p:cNvPr>
          <p:cNvSpPr>
            <a:spLocks noGrp="1"/>
          </p:cNvSpPr>
          <p:nvPr>
            <p:ph type="title"/>
          </p:nvPr>
        </p:nvSpPr>
        <p:spPr>
          <a:xfrm>
            <a:off x="548640" y="549274"/>
            <a:ext cx="4505960" cy="3053843"/>
          </a:xfrm>
          <a:prstGeom prst="rect">
            <a:avLst/>
          </a:prstGeom>
        </p:spPr>
        <p:txBody>
          <a:bodyPr vert="horz" lIns="0" tIns="0" rIns="0" bIns="0" rtlCol="0" anchor="b" anchorCtr="0">
            <a:noAutofit/>
          </a:bodyPr>
          <a:lstStyle>
            <a:lvl1pPr>
              <a:defRPr lang="en-US" b="0" spc="0">
                <a:solidFill>
                  <a:schemeClr val="accent1"/>
                </a:solidFill>
              </a:defRPr>
            </a:lvl1pPr>
          </a:lstStyle>
          <a:p>
            <a:pPr lvl="0"/>
            <a:endParaRPr lang="en-US"/>
          </a:p>
        </p:txBody>
      </p:sp>
      <p:sp>
        <p:nvSpPr>
          <p:cNvPr id="7" name="Text Placeholder 7">
            <a:extLst>
              <a:ext uri="{FF2B5EF4-FFF2-40B4-BE49-F238E27FC236}">
                <a16:creationId xmlns:a16="http://schemas.microsoft.com/office/drawing/2014/main" id="{5F21B0F9-D54B-3CEC-A8D2-0165C0F07422}"/>
              </a:ext>
            </a:extLst>
          </p:cNvPr>
          <p:cNvSpPr>
            <a:spLocks noGrp="1"/>
          </p:cNvSpPr>
          <p:nvPr>
            <p:ph type="body" sz="quarter" idx="12"/>
          </p:nvPr>
        </p:nvSpPr>
        <p:spPr>
          <a:xfrm>
            <a:off x="548640" y="3689685"/>
            <a:ext cx="4505960" cy="2495216"/>
          </a:xfrm>
          <a:prstGeom prst="rect">
            <a:avLst/>
          </a:prstGeom>
        </p:spPr>
        <p:txBody>
          <a:bodyPr vert="horz" lIns="0" tIns="0" rIns="0" bIns="0" rtlCol="0">
            <a:noAutofit/>
          </a:bodyPr>
          <a:lstStyle>
            <a:lvl1pPr>
              <a:defRPr lang="en-US" sz="1800" b="0" i="0" spc="0">
                <a:solidFill>
                  <a:schemeClr val="bg1"/>
                </a:solidFill>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endParaRPr lang="en-US"/>
          </a:p>
        </p:txBody>
      </p:sp>
      <p:pic>
        <p:nvPicPr>
          <p:cNvPr id="6" name="Picture 15">
            <a:extLst>
              <a:ext uri="{FF2B5EF4-FFF2-40B4-BE49-F238E27FC236}">
                <a16:creationId xmlns:a16="http://schemas.microsoft.com/office/drawing/2014/main" id="{25112533-991F-B995-5695-A15D01814C6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9AFC5335-F427-BE83-68F1-81695129BB8C}"/>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3" name="Picture 2">
            <a:extLst>
              <a:ext uri="{FF2B5EF4-FFF2-40B4-BE49-F238E27FC236}">
                <a16:creationId xmlns:a16="http://schemas.microsoft.com/office/drawing/2014/main" id="{224B1A45-00B5-33F6-56EA-159ACC31D23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7369600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eighted Left Photo">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A752210A-53B4-1322-937A-4DE93B24DD45}"/>
              </a:ext>
            </a:extLst>
          </p:cNvPr>
          <p:cNvPicPr>
            <a:picLocks noGrp="1" noRot="1" noMove="1" noResize="1" noEditPoints="1" noAdjustHandles="1" noChangeArrowheads="1" noChangeShapeType="1" noCrop="1"/>
          </p:cNvPicPr>
          <p:nvPr userDrawn="1"/>
        </p:nvPicPr>
        <p:blipFill>
          <a:blip r:embed="rId2"/>
          <a:stretch>
            <a:fillRect/>
          </a:stretch>
        </p:blipFill>
        <p:spPr>
          <a:xfrm>
            <a:off x="0" y="892"/>
            <a:ext cx="12190415" cy="6867144"/>
          </a:xfrm>
          <a:prstGeom prst="rect">
            <a:avLst/>
          </a:prstGeom>
        </p:spPr>
      </p:pic>
      <p:sp>
        <p:nvSpPr>
          <p:cNvPr id="3" name="Rounded Rectangle 4">
            <a:extLst>
              <a:ext uri="{FF2B5EF4-FFF2-40B4-BE49-F238E27FC236}">
                <a16:creationId xmlns:a16="http://schemas.microsoft.com/office/drawing/2014/main" id="{B43FF7B8-DDB6-BA2C-C500-633E835E04BD}"/>
              </a:ext>
              <a:ext uri="{C183D7F6-B498-43B3-948B-1728B52AA6E4}">
                <adec:decorative xmlns:adec="http://schemas.microsoft.com/office/drawing/2017/decorative" val="1"/>
              </a:ext>
            </a:extLst>
          </p:cNvPr>
          <p:cNvSpPr/>
          <p:nvPr userDrawn="1"/>
        </p:nvSpPr>
        <p:spPr>
          <a:xfrm>
            <a:off x="546099" y="549274"/>
            <a:ext cx="6198023" cy="5632704"/>
          </a:xfrm>
          <a:prstGeom prst="roundRect">
            <a:avLst>
              <a:gd name="adj" fmla="val 255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2" name="Picture Placeholder 8">
            <a:extLst>
              <a:ext uri="{FF2B5EF4-FFF2-40B4-BE49-F238E27FC236}">
                <a16:creationId xmlns:a16="http://schemas.microsoft.com/office/drawing/2014/main" id="{1B77DF1E-B24E-1529-56CF-ED549E1AD644}"/>
              </a:ext>
            </a:extLst>
          </p:cNvPr>
          <p:cNvSpPr>
            <a:spLocks noGrp="1"/>
          </p:cNvSpPr>
          <p:nvPr>
            <p:ph type="pic" sz="quarter" idx="13" hasCustomPrompt="1"/>
          </p:nvPr>
        </p:nvSpPr>
        <p:spPr>
          <a:xfrm>
            <a:off x="650500" y="657922"/>
            <a:ext cx="5989320" cy="5413248"/>
          </a:xfrm>
          <a:prstGeom prst="roundRect">
            <a:avLst>
              <a:gd name="adj" fmla="val 1330"/>
            </a:avLst>
          </a:prstGeom>
        </p:spPr>
        <p:txBody>
          <a:bodyPr/>
          <a:lstStyle/>
          <a:p>
            <a:r>
              <a:rPr lang="en-US" dirty="0"/>
              <a:t>Click to edit</a:t>
            </a:r>
          </a:p>
        </p:txBody>
      </p:sp>
      <p:sp>
        <p:nvSpPr>
          <p:cNvPr id="6" name="Title 1">
            <a:extLst>
              <a:ext uri="{FF2B5EF4-FFF2-40B4-BE49-F238E27FC236}">
                <a16:creationId xmlns:a16="http://schemas.microsoft.com/office/drawing/2014/main" id="{A13636E3-6513-4E63-3BE8-DEAA84C066AA}"/>
              </a:ext>
            </a:extLst>
          </p:cNvPr>
          <p:cNvSpPr>
            <a:spLocks noGrp="1"/>
          </p:cNvSpPr>
          <p:nvPr>
            <p:ph type="title"/>
          </p:nvPr>
        </p:nvSpPr>
        <p:spPr>
          <a:xfrm>
            <a:off x="7127875" y="549274"/>
            <a:ext cx="4510088" cy="3053843"/>
          </a:xfrm>
          <a:prstGeom prst="rect">
            <a:avLst/>
          </a:prstGeom>
        </p:spPr>
        <p:txBody>
          <a:bodyPr lIns="0" tIns="0" rIns="0" bIns="0" anchor="b">
            <a:noAutofit/>
          </a:bodyPr>
          <a:lstStyle>
            <a:lvl1pPr>
              <a:lnSpc>
                <a:spcPct val="90000"/>
              </a:lnSpc>
              <a:defRPr sz="4000" b="1" spc="0" baseline="0">
                <a:solidFill>
                  <a:schemeClr val="accent1"/>
                </a:solidFill>
              </a:defRPr>
            </a:lvl1pPr>
          </a:lstStyle>
          <a:p>
            <a:endParaRPr lang="en-US"/>
          </a:p>
        </p:txBody>
      </p:sp>
      <p:sp>
        <p:nvSpPr>
          <p:cNvPr id="5" name="Text Placeholder 7">
            <a:extLst>
              <a:ext uri="{FF2B5EF4-FFF2-40B4-BE49-F238E27FC236}">
                <a16:creationId xmlns:a16="http://schemas.microsoft.com/office/drawing/2014/main" id="{7721949C-5272-6B74-B7E5-176408FDB7C5}"/>
              </a:ext>
            </a:extLst>
          </p:cNvPr>
          <p:cNvSpPr>
            <a:spLocks noGrp="1"/>
          </p:cNvSpPr>
          <p:nvPr>
            <p:ph type="body" sz="quarter" idx="12"/>
          </p:nvPr>
        </p:nvSpPr>
        <p:spPr>
          <a:xfrm>
            <a:off x="7127875" y="3697705"/>
            <a:ext cx="4510088" cy="2487195"/>
          </a:xfrm>
          <a:prstGeom prst="rect">
            <a:avLst/>
          </a:prstGeom>
          <a:ln>
            <a:noFill/>
          </a:ln>
        </p:spPr>
        <p:txBody>
          <a:bodyPr vert="horz" lIns="0" tIns="0" rIns="0" bIns="0" rtlCol="0">
            <a:noAutofit/>
          </a:bodyPr>
          <a:lstStyle>
            <a:lvl1pPr>
              <a:defRPr lang="en-US" sz="1800" b="0" i="0" spc="0">
                <a:solidFill>
                  <a:schemeClr val="bg1"/>
                </a:solidFill>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endParaRPr lang="en-US"/>
          </a:p>
        </p:txBody>
      </p:sp>
      <p:pic>
        <p:nvPicPr>
          <p:cNvPr id="9" name="Picture 15">
            <a:extLst>
              <a:ext uri="{FF2B5EF4-FFF2-40B4-BE49-F238E27FC236}">
                <a16:creationId xmlns:a16="http://schemas.microsoft.com/office/drawing/2014/main" id="{516BCB6C-5AB1-458F-B4E6-62CC74B439D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9F3925CF-5E3C-7143-DFF5-6AEC46228A3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4" name="Picture 3">
            <a:extLst>
              <a:ext uri="{FF2B5EF4-FFF2-40B4-BE49-F238E27FC236}">
                <a16:creationId xmlns:a16="http://schemas.microsoft.com/office/drawing/2014/main" id="{87E02FD8-87CD-773E-789D-4E401CB51875}"/>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5514098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bg2"/>
        </a:solidFill>
        <a:effectLst/>
      </p:bgPr>
    </p:bg>
    <p:spTree>
      <p:nvGrpSpPr>
        <p:cNvPr id="1" name=""/>
        <p:cNvGrpSpPr/>
        <p:nvPr/>
      </p:nvGrpSpPr>
      <p:grpSpPr>
        <a:xfrm>
          <a:off x="0" y="0"/>
          <a:ext cx="0" cy="0"/>
          <a:chOff x="0" y="0"/>
          <a:chExt cx="0" cy="0"/>
        </a:xfrm>
      </p:grpSpPr>
      <p:pic>
        <p:nvPicPr>
          <p:cNvPr id="3" name="Picture 2" descr="A green and blue background&#10;&#10;AI-generated content may be incorrect.">
            <a:extLst>
              <a:ext uri="{FF2B5EF4-FFF2-40B4-BE49-F238E27FC236}">
                <a16:creationId xmlns:a16="http://schemas.microsoft.com/office/drawing/2014/main" id="{4E2C30BE-B9D3-264A-C61E-417163A0C4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16">
            <a:extLst>
              <a:ext uri="{FF2B5EF4-FFF2-40B4-BE49-F238E27FC236}">
                <a16:creationId xmlns:a16="http://schemas.microsoft.com/office/drawing/2014/main" id="{952298EF-2194-23A3-A0C1-0695F1A66F25}"/>
              </a:ext>
              <a:ext uri="{C183D7F6-B498-43B3-948B-1728B52AA6E4}">
                <adec:decorative xmlns:adec="http://schemas.microsoft.com/office/drawing/2017/decorative" val="1"/>
              </a:ext>
            </a:extLst>
          </p:cNvPr>
          <p:cNvSpPr/>
          <p:nvPr userDrawn="1"/>
        </p:nvSpPr>
        <p:spPr>
          <a:xfrm>
            <a:off x="4113213" y="1250950"/>
            <a:ext cx="7523162" cy="4933951"/>
          </a:xfrm>
          <a:prstGeom prst="roundRect">
            <a:avLst>
              <a:gd name="adj" fmla="val 369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4" name="Table Placeholder 13">
            <a:extLst>
              <a:ext uri="{FF2B5EF4-FFF2-40B4-BE49-F238E27FC236}">
                <a16:creationId xmlns:a16="http://schemas.microsoft.com/office/drawing/2014/main" id="{BD199476-B1DE-6A8F-0A7B-687AD28EDEEB}"/>
              </a:ext>
              <a:ext uri="{C183D7F6-B498-43B3-948B-1728B52AA6E4}">
                <adec:decorative xmlns:adec="http://schemas.microsoft.com/office/drawing/2017/decorative" val="1"/>
              </a:ext>
            </a:extLst>
          </p:cNvPr>
          <p:cNvSpPr>
            <a:spLocks noGrp="1"/>
          </p:cNvSpPr>
          <p:nvPr>
            <p:ph type="tbl" sz="quarter" idx="10"/>
          </p:nvPr>
        </p:nvSpPr>
        <p:spPr>
          <a:xfrm>
            <a:off x="4321175" y="1462538"/>
            <a:ext cx="7107238" cy="4529188"/>
          </a:xfrm>
          <a:prstGeom prst="rect">
            <a:avLst/>
          </a:prstGeom>
        </p:spPr>
        <p:txBody>
          <a:bodyPr/>
          <a:lstStyle>
            <a:lvl1pPr>
              <a:defRPr>
                <a:solidFill>
                  <a:schemeClr val="bg1"/>
                </a:solidFill>
              </a:defRPr>
            </a:lvl1pPr>
          </a:lstStyle>
          <a:p>
            <a:endParaRPr lang="en-US" dirty="0"/>
          </a:p>
        </p:txBody>
      </p:sp>
      <p:sp>
        <p:nvSpPr>
          <p:cNvPr id="5" name="Title Placeholder 1">
            <a:extLst>
              <a:ext uri="{FF2B5EF4-FFF2-40B4-BE49-F238E27FC236}">
                <a16:creationId xmlns:a16="http://schemas.microsoft.com/office/drawing/2014/main" id="{81263ADE-3D5D-1B56-C05D-9FC9268EF9BA}"/>
              </a:ext>
            </a:extLst>
          </p:cNvPr>
          <p:cNvSpPr>
            <a:spLocks noGrp="1"/>
          </p:cNvSpPr>
          <p:nvPr>
            <p:ph type="title" hasCustomPrompt="1"/>
          </p:nvPr>
        </p:nvSpPr>
        <p:spPr>
          <a:xfrm>
            <a:off x="548640" y="1230923"/>
            <a:ext cx="3401191" cy="2140927"/>
          </a:xfrm>
          <a:prstGeom prst="rect">
            <a:avLst/>
          </a:prstGeom>
        </p:spPr>
        <p:txBody>
          <a:bodyPr vert="horz" lIns="0" tIns="0" rIns="0" bIns="0" rtlCol="0" anchor="t" anchorCtr="0">
            <a:noAutofit/>
          </a:bodyPr>
          <a:lstStyle>
            <a:lvl1pPr>
              <a:lnSpc>
                <a:spcPct val="85000"/>
              </a:lnSpc>
              <a:defRPr lang="en-US" sz="5400" b="0" dirty="0">
                <a:solidFill>
                  <a:schemeClr val="bg1"/>
                </a:solidFill>
              </a:defRPr>
            </a:lvl1pPr>
          </a:lstStyle>
          <a:p>
            <a:pPr lvl="0"/>
            <a:r>
              <a:rPr lang="en-US"/>
              <a:t>Table of contents</a:t>
            </a:r>
          </a:p>
        </p:txBody>
      </p:sp>
      <p:pic>
        <p:nvPicPr>
          <p:cNvPr id="6" name="Picture 15">
            <a:extLst>
              <a:ext uri="{FF2B5EF4-FFF2-40B4-BE49-F238E27FC236}">
                <a16:creationId xmlns:a16="http://schemas.microsoft.com/office/drawing/2014/main" id="{B8D3054C-23F7-B662-2E45-79101605C58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40D7F9CD-7EF6-7FB0-80C6-D2287D7ACB3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spTree>
    <p:extLst>
      <p:ext uri="{BB962C8B-B14F-4D97-AF65-F5344CB8AC3E}">
        <p14:creationId xmlns:p14="http://schemas.microsoft.com/office/powerpoint/2010/main" val="226456087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pic>
        <p:nvPicPr>
          <p:cNvPr id="2" name="Picture 1" descr="A green and blue background&#10;&#10;AI-generated content may be incorrect.">
            <a:extLst>
              <a:ext uri="{FF2B5EF4-FFF2-40B4-BE49-F238E27FC236}">
                <a16:creationId xmlns:a16="http://schemas.microsoft.com/office/drawing/2014/main" id="{33EAC069-EE2A-1814-F479-D03C25B948E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16">
            <a:extLst>
              <a:ext uri="{FF2B5EF4-FFF2-40B4-BE49-F238E27FC236}">
                <a16:creationId xmlns:a16="http://schemas.microsoft.com/office/drawing/2014/main" id="{EC57C48E-CCE9-7EC0-A403-9DB4CA0CEA14}"/>
              </a:ext>
              <a:ext uri="{C183D7F6-B498-43B3-948B-1728B52AA6E4}">
                <adec:decorative xmlns:adec="http://schemas.microsoft.com/office/drawing/2017/decorative" val="1"/>
              </a:ext>
            </a:extLst>
          </p:cNvPr>
          <p:cNvSpPr/>
          <p:nvPr userDrawn="1"/>
        </p:nvSpPr>
        <p:spPr>
          <a:xfrm>
            <a:off x="4308475" y="549276"/>
            <a:ext cx="7327900" cy="5635626"/>
          </a:xfrm>
          <a:prstGeom prst="roundRect">
            <a:avLst>
              <a:gd name="adj" fmla="val 319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6" name="Table Placeholder 5">
            <a:extLst>
              <a:ext uri="{FF2B5EF4-FFF2-40B4-BE49-F238E27FC236}">
                <a16:creationId xmlns:a16="http://schemas.microsoft.com/office/drawing/2014/main" id="{3A6AE96B-209E-2AE1-1750-0A56C329E764}"/>
              </a:ext>
              <a:ext uri="{C183D7F6-B498-43B3-948B-1728B52AA6E4}">
                <adec:decorative xmlns:adec="http://schemas.microsoft.com/office/drawing/2017/decorative" val="1"/>
              </a:ext>
            </a:extLst>
          </p:cNvPr>
          <p:cNvSpPr>
            <a:spLocks noGrp="1"/>
          </p:cNvSpPr>
          <p:nvPr>
            <p:ph type="tbl" sz="quarter" idx="10"/>
          </p:nvPr>
        </p:nvSpPr>
        <p:spPr>
          <a:xfrm>
            <a:off x="4549995" y="780836"/>
            <a:ext cx="6852296" cy="5179797"/>
          </a:xfrm>
          <a:prstGeom prst="rect">
            <a:avLst/>
          </a:prstGeom>
        </p:spPr>
        <p:txBody>
          <a:bodyPr/>
          <a:lstStyle>
            <a:lvl1pPr>
              <a:defRPr>
                <a:solidFill>
                  <a:schemeClr val="bg1"/>
                </a:solidFill>
              </a:defRPr>
            </a:lvl1pPr>
          </a:lstStyle>
          <a:p>
            <a:endParaRPr lang="en-US" dirty="0"/>
          </a:p>
        </p:txBody>
      </p:sp>
      <p:sp>
        <p:nvSpPr>
          <p:cNvPr id="5" name="Title Placeholder 1">
            <a:extLst>
              <a:ext uri="{FF2B5EF4-FFF2-40B4-BE49-F238E27FC236}">
                <a16:creationId xmlns:a16="http://schemas.microsoft.com/office/drawing/2014/main" id="{81263ADE-3D5D-1B56-C05D-9FC9268EF9BA}"/>
              </a:ext>
            </a:extLst>
          </p:cNvPr>
          <p:cNvSpPr>
            <a:spLocks noGrp="1"/>
          </p:cNvSpPr>
          <p:nvPr>
            <p:ph type="title" hasCustomPrompt="1"/>
          </p:nvPr>
        </p:nvSpPr>
        <p:spPr>
          <a:xfrm>
            <a:off x="548640" y="1230923"/>
            <a:ext cx="3401191" cy="2140927"/>
          </a:xfrm>
          <a:prstGeom prst="rect">
            <a:avLst/>
          </a:prstGeom>
        </p:spPr>
        <p:txBody>
          <a:bodyPr vert="horz" lIns="0" tIns="0" rIns="0" bIns="0" rtlCol="0" anchor="t" anchorCtr="0">
            <a:noAutofit/>
          </a:bodyPr>
          <a:lstStyle>
            <a:lvl1pPr>
              <a:defRPr lang="en-US" sz="5400" b="0" dirty="0">
                <a:solidFill>
                  <a:schemeClr val="bg1"/>
                </a:solidFill>
              </a:defRPr>
            </a:lvl1pPr>
          </a:lstStyle>
          <a:p>
            <a:pPr lvl="0"/>
            <a:r>
              <a:rPr lang="en-US"/>
              <a:t>Executive Summary</a:t>
            </a:r>
          </a:p>
        </p:txBody>
      </p:sp>
      <p:pic>
        <p:nvPicPr>
          <p:cNvPr id="4" name="Picture 15">
            <a:extLst>
              <a:ext uri="{FF2B5EF4-FFF2-40B4-BE49-F238E27FC236}">
                <a16:creationId xmlns:a16="http://schemas.microsoft.com/office/drawing/2014/main" id="{88CE4361-67AD-136C-2DFA-9FB1B042C52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E5346E77-320F-4A1E-B78A-914EB5648BD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8" name="Picture 7">
            <a:extLst>
              <a:ext uri="{FF2B5EF4-FFF2-40B4-BE49-F238E27FC236}">
                <a16:creationId xmlns:a16="http://schemas.microsoft.com/office/drawing/2014/main" id="{2526CA0C-4135-ED7E-3E40-1A342AA09A76}"/>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5677212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mo Full Screen">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AC87AFA-B647-68AE-538B-0418C1FEAD95}"/>
              </a:ext>
            </a:extLst>
          </p:cNvPr>
          <p:cNvSpPr>
            <a:spLocks noGrp="1"/>
          </p:cNvSpPr>
          <p:nvPr>
            <p:ph type="pic" sz="quarter" idx="16" hasCustomPrompt="1"/>
          </p:nvPr>
        </p:nvSpPr>
        <p:spPr>
          <a:xfrm>
            <a:off x="0" y="0"/>
            <a:ext cx="12188825" cy="6867144"/>
          </a:xfrm>
          <a:prstGeom prst="rect">
            <a:avLst/>
          </a:prstGeom>
          <a:noFill/>
        </p:spPr>
        <p:txBody>
          <a:bodyPr/>
          <a:lstStyle>
            <a:lvl1pPr marL="0" indent="0" algn="ctr">
              <a:lnSpc>
                <a:spcPct val="82000"/>
              </a:lnSpc>
              <a:buNone/>
              <a:defRPr spc="0" baseline="0"/>
            </a:lvl1pPr>
          </a:lstStyle>
          <a:p>
            <a:r>
              <a:rPr lang="en-US" dirty="0"/>
              <a:t>Click icon to add demo screen</a:t>
            </a:r>
          </a:p>
        </p:txBody>
      </p:sp>
    </p:spTree>
    <p:extLst>
      <p:ext uri="{BB962C8B-B14F-4D97-AF65-F5344CB8AC3E}">
        <p14:creationId xmlns:p14="http://schemas.microsoft.com/office/powerpoint/2010/main" val="42047741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Collage Right">
    <p:bg>
      <p:bgPr>
        <a:solidFill>
          <a:schemeClr val="bg1"/>
        </a:solidFill>
        <a:effectLst/>
      </p:bgPr>
    </p:bg>
    <p:spTree>
      <p:nvGrpSpPr>
        <p:cNvPr id="1" name=""/>
        <p:cNvGrpSpPr/>
        <p:nvPr/>
      </p:nvGrpSpPr>
      <p:grpSpPr>
        <a:xfrm>
          <a:off x="0" y="0"/>
          <a:ext cx="0" cy="0"/>
          <a:chOff x="0" y="0"/>
          <a:chExt cx="0" cy="0"/>
        </a:xfrm>
      </p:grpSpPr>
      <p:pic>
        <p:nvPicPr>
          <p:cNvPr id="3" name="Picture 2" descr="A green and blue gradient&#10;&#10;AI-generated content may be incorrect.">
            <a:extLst>
              <a:ext uri="{FF2B5EF4-FFF2-40B4-BE49-F238E27FC236}">
                <a16:creationId xmlns:a16="http://schemas.microsoft.com/office/drawing/2014/main" id="{495F82EC-EDBD-E4AF-938A-F3BBB393400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80" name="Rounded Rectangle 4">
            <a:extLst>
              <a:ext uri="{FF2B5EF4-FFF2-40B4-BE49-F238E27FC236}">
                <a16:creationId xmlns:a16="http://schemas.microsoft.com/office/drawing/2014/main" id="{FA2E1F03-A764-BC87-E39A-E829FCD0D348}"/>
              </a:ext>
              <a:ext uri="{C183D7F6-B498-43B3-948B-1728B52AA6E4}">
                <adec:decorative xmlns:adec="http://schemas.microsoft.com/office/drawing/2017/decorative" val="1"/>
              </a:ext>
            </a:extLst>
          </p:cNvPr>
          <p:cNvSpPr/>
          <p:nvPr/>
        </p:nvSpPr>
        <p:spPr>
          <a:xfrm>
            <a:off x="8066950" y="675798"/>
            <a:ext cx="3568699" cy="4802982"/>
          </a:xfrm>
          <a:prstGeom prst="roundRect">
            <a:avLst>
              <a:gd name="adj" fmla="val 302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86" name="Rounded Rectangle 4">
            <a:extLst>
              <a:ext uri="{FF2B5EF4-FFF2-40B4-BE49-F238E27FC236}">
                <a16:creationId xmlns:a16="http://schemas.microsoft.com/office/drawing/2014/main" id="{4FF00136-392B-8D84-DFF1-D2B3A20C5943}"/>
              </a:ext>
              <a:ext uri="{C183D7F6-B498-43B3-948B-1728B52AA6E4}">
                <adec:decorative xmlns:adec="http://schemas.microsoft.com/office/drawing/2017/decorative" val="1"/>
              </a:ext>
            </a:extLst>
          </p:cNvPr>
          <p:cNvSpPr/>
          <p:nvPr/>
        </p:nvSpPr>
        <p:spPr>
          <a:xfrm>
            <a:off x="4311743" y="4214490"/>
            <a:ext cx="3568699" cy="1973650"/>
          </a:xfrm>
          <a:prstGeom prst="roundRect">
            <a:avLst>
              <a:gd name="adj" fmla="val 547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92" name="Rounded Rectangle 4">
            <a:extLst>
              <a:ext uri="{FF2B5EF4-FFF2-40B4-BE49-F238E27FC236}">
                <a16:creationId xmlns:a16="http://schemas.microsoft.com/office/drawing/2014/main" id="{1227470C-F6D7-6B3F-70AF-0A276E2F8F97}"/>
              </a:ext>
              <a:ext uri="{C183D7F6-B498-43B3-948B-1728B52AA6E4}">
                <adec:decorative xmlns:adec="http://schemas.microsoft.com/office/drawing/2017/decorative" val="1"/>
              </a:ext>
            </a:extLst>
          </p:cNvPr>
          <p:cNvSpPr/>
          <p:nvPr/>
        </p:nvSpPr>
        <p:spPr>
          <a:xfrm>
            <a:off x="4649907" y="423091"/>
            <a:ext cx="3230535" cy="3550768"/>
          </a:xfrm>
          <a:prstGeom prst="roundRect">
            <a:avLst>
              <a:gd name="adj" fmla="val 3343"/>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81" name="Picture Placeholder 111">
            <a:extLst>
              <a:ext uri="{FF2B5EF4-FFF2-40B4-BE49-F238E27FC236}">
                <a16:creationId xmlns:a16="http://schemas.microsoft.com/office/drawing/2014/main" id="{AAE8E549-4BE2-23D1-0EF7-42A53D5AA316}"/>
              </a:ext>
              <a:ext uri="{C183D7F6-B498-43B3-948B-1728B52AA6E4}">
                <adec:decorative xmlns:adec="http://schemas.microsoft.com/office/drawing/2017/decorative" val="1"/>
              </a:ext>
            </a:extLst>
          </p:cNvPr>
          <p:cNvSpPr>
            <a:spLocks noGrp="1"/>
          </p:cNvSpPr>
          <p:nvPr>
            <p:ph type="pic" sz="quarter" idx="16"/>
          </p:nvPr>
        </p:nvSpPr>
        <p:spPr>
          <a:xfrm>
            <a:off x="8217672" y="826516"/>
            <a:ext cx="3267256" cy="4501542"/>
          </a:xfrm>
          <a:prstGeom prst="roundRect">
            <a:avLst>
              <a:gd name="adj" fmla="val 2185"/>
            </a:avLst>
          </a:prstGeom>
        </p:spPr>
        <p:txBody>
          <a:bodyPr/>
          <a:lstStyle>
            <a:lvl1pPr algn="ctr">
              <a:defRPr/>
            </a:lvl1pPr>
          </a:lstStyle>
          <a:p>
            <a:r>
              <a:rPr lang="en-US" dirty="0"/>
              <a:t>Click icon to add picture</a:t>
            </a:r>
          </a:p>
        </p:txBody>
      </p:sp>
      <p:sp>
        <p:nvSpPr>
          <p:cNvPr id="388" name="Picture Placeholder 111">
            <a:extLst>
              <a:ext uri="{FF2B5EF4-FFF2-40B4-BE49-F238E27FC236}">
                <a16:creationId xmlns:a16="http://schemas.microsoft.com/office/drawing/2014/main" id="{4BBBAA70-AD56-ECE4-4A0A-ABBA58469C07}"/>
              </a:ext>
              <a:ext uri="{C183D7F6-B498-43B3-948B-1728B52AA6E4}">
                <adec:decorative xmlns:adec="http://schemas.microsoft.com/office/drawing/2017/decorative" val="1"/>
              </a:ext>
            </a:extLst>
          </p:cNvPr>
          <p:cNvSpPr>
            <a:spLocks noGrp="1"/>
          </p:cNvSpPr>
          <p:nvPr>
            <p:ph type="pic" sz="quarter" idx="17"/>
          </p:nvPr>
        </p:nvSpPr>
        <p:spPr>
          <a:xfrm>
            <a:off x="4455486" y="4371278"/>
            <a:ext cx="3267254" cy="1666139"/>
          </a:xfrm>
          <a:prstGeom prst="roundRect">
            <a:avLst>
              <a:gd name="adj" fmla="val 4321"/>
            </a:avLst>
          </a:prstGeom>
        </p:spPr>
        <p:txBody>
          <a:bodyPr/>
          <a:lstStyle>
            <a:lvl1pPr algn="ctr">
              <a:defRPr/>
            </a:lvl1pPr>
          </a:lstStyle>
          <a:p>
            <a:r>
              <a:rPr lang="en-US" dirty="0"/>
              <a:t>Click icon to add picture</a:t>
            </a:r>
          </a:p>
        </p:txBody>
      </p:sp>
      <p:sp>
        <p:nvSpPr>
          <p:cNvPr id="393" name="Picture Placeholder 111">
            <a:extLst>
              <a:ext uri="{FF2B5EF4-FFF2-40B4-BE49-F238E27FC236}">
                <a16:creationId xmlns:a16="http://schemas.microsoft.com/office/drawing/2014/main" id="{A3A6B8BC-E497-87C9-E755-289B93C89983}"/>
              </a:ext>
              <a:ext uri="{C183D7F6-B498-43B3-948B-1728B52AA6E4}">
                <adec:decorative xmlns:adec="http://schemas.microsoft.com/office/drawing/2017/decorative" val="1"/>
              </a:ext>
            </a:extLst>
          </p:cNvPr>
          <p:cNvSpPr>
            <a:spLocks noGrp="1"/>
          </p:cNvSpPr>
          <p:nvPr>
            <p:ph type="pic" sz="quarter" idx="19"/>
          </p:nvPr>
        </p:nvSpPr>
        <p:spPr>
          <a:xfrm>
            <a:off x="4800629" y="575766"/>
            <a:ext cx="2929091" cy="3259636"/>
          </a:xfrm>
          <a:prstGeom prst="roundRect">
            <a:avLst>
              <a:gd name="adj" fmla="val 2497"/>
            </a:avLst>
          </a:prstGeom>
        </p:spPr>
        <p:txBody>
          <a:bodyPr/>
          <a:lstStyle>
            <a:lvl1pPr algn="ctr">
              <a:defRPr/>
            </a:lvl1pPr>
          </a:lstStyle>
          <a:p>
            <a:r>
              <a:rPr lang="en-US" dirty="0"/>
              <a:t>Click icon to add picture</a:t>
            </a:r>
          </a:p>
        </p:txBody>
      </p:sp>
      <p:sp>
        <p:nvSpPr>
          <p:cNvPr id="496" name="Title 1">
            <a:extLst>
              <a:ext uri="{FF2B5EF4-FFF2-40B4-BE49-F238E27FC236}">
                <a16:creationId xmlns:a16="http://schemas.microsoft.com/office/drawing/2014/main" id="{B50F9403-E667-B60F-DC05-41DAC0E87E81}"/>
              </a:ext>
            </a:extLst>
          </p:cNvPr>
          <p:cNvSpPr>
            <a:spLocks noGrp="1"/>
          </p:cNvSpPr>
          <p:nvPr>
            <p:ph type="title"/>
          </p:nvPr>
        </p:nvSpPr>
        <p:spPr>
          <a:xfrm>
            <a:off x="553177" y="549275"/>
            <a:ext cx="3560036" cy="2239204"/>
          </a:xfrm>
          <a:prstGeom prst="rect">
            <a:avLst/>
          </a:prstGeom>
        </p:spPr>
        <p:txBody>
          <a:bodyPr lIns="0" tIns="0" rIns="0" bIns="0" anchor="b" anchorCtr="0">
            <a:noAutofit/>
          </a:bodyPr>
          <a:lstStyle>
            <a:lvl1pPr>
              <a:lnSpc>
                <a:spcPct val="85000"/>
              </a:lnSpc>
              <a:defRPr sz="4000" b="0" spc="0" baseline="0"/>
            </a:lvl1pPr>
          </a:lstStyle>
          <a:p>
            <a:endParaRPr lang="en-US"/>
          </a:p>
        </p:txBody>
      </p:sp>
      <p:sp>
        <p:nvSpPr>
          <p:cNvPr id="396" name="Text Placeholder 7">
            <a:extLst>
              <a:ext uri="{FF2B5EF4-FFF2-40B4-BE49-F238E27FC236}">
                <a16:creationId xmlns:a16="http://schemas.microsoft.com/office/drawing/2014/main" id="{95A1D9C4-BD0D-E4C8-9A7C-04E796A561FA}"/>
              </a:ext>
            </a:extLst>
          </p:cNvPr>
          <p:cNvSpPr>
            <a:spLocks noGrp="1"/>
          </p:cNvSpPr>
          <p:nvPr>
            <p:ph type="body" sz="quarter" idx="20"/>
          </p:nvPr>
        </p:nvSpPr>
        <p:spPr>
          <a:xfrm>
            <a:off x="546100" y="2863516"/>
            <a:ext cx="3567523" cy="3165809"/>
          </a:xfrm>
          <a:prstGeom prst="rect">
            <a:avLst/>
          </a:prstGeom>
        </p:spPr>
        <p:txBody>
          <a:bodyPr lIns="0" tIns="0" rIns="0" bIns="0">
            <a:noAutofit/>
          </a:bodyPr>
          <a:lstStyle>
            <a:lvl1pPr marL="0" indent="0">
              <a:lnSpc>
                <a:spcPct val="100000"/>
              </a:lnSpc>
              <a:buFont typeface="ServiceNow Sans" panose="020B0504040101010104" pitchFamily="34" charset="0"/>
              <a:buNone/>
              <a:defRPr sz="1800" b="0" i="0" spc="0" baseline="0">
                <a:latin typeface="ServiceNow Sans Light" panose="020B0404040101010104" pitchFamily="34" charset="77"/>
                <a:cs typeface="ServiceNow Sans Light" panose="020B0404040101010104" pitchFamily="34" charset="77"/>
              </a:defRPr>
            </a:lvl1pPr>
          </a:lstStyle>
          <a:p>
            <a:pPr lvl="0"/>
            <a:endParaRPr lang="en-US"/>
          </a:p>
        </p:txBody>
      </p:sp>
      <p:pic>
        <p:nvPicPr>
          <p:cNvPr id="4" name="Picture 15">
            <a:extLst>
              <a:ext uri="{FF2B5EF4-FFF2-40B4-BE49-F238E27FC236}">
                <a16:creationId xmlns:a16="http://schemas.microsoft.com/office/drawing/2014/main" id="{1FD81B96-5524-FA5E-35AC-623DBDF783F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D30D99F8-EA18-BFDC-5ECB-592541DE33C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2" name="Picture 1">
            <a:extLst>
              <a:ext uri="{FF2B5EF4-FFF2-40B4-BE49-F238E27FC236}">
                <a16:creationId xmlns:a16="http://schemas.microsoft.com/office/drawing/2014/main" id="{79DDCA5D-ACE8-95A5-ABA9-9B1457058DF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164078139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bg2"/>
        </a:solidFill>
        <a:effectLst/>
      </p:bgPr>
    </p:bg>
    <p:spTree>
      <p:nvGrpSpPr>
        <p:cNvPr id="1" name=""/>
        <p:cNvGrpSpPr/>
        <p:nvPr/>
      </p:nvGrpSpPr>
      <p:grpSpPr>
        <a:xfrm>
          <a:off x="0" y="0"/>
          <a:ext cx="0" cy="0"/>
          <a:chOff x="0" y="0"/>
          <a:chExt cx="0" cy="0"/>
        </a:xfrm>
      </p:grpSpPr>
      <p:pic>
        <p:nvPicPr>
          <p:cNvPr id="10" name="Picture 9" descr="A blue and white background&#10;&#10;AI-generated content may be incorrect.">
            <a:extLst>
              <a:ext uri="{FF2B5EF4-FFF2-40B4-BE49-F238E27FC236}">
                <a16:creationId xmlns:a16="http://schemas.microsoft.com/office/drawing/2014/main" id="{15ECAD2C-127C-9BE4-04CA-7DC8FE568E0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9" name="Graphic 8">
            <a:extLst>
              <a:ext uri="{FF2B5EF4-FFF2-40B4-BE49-F238E27FC236}">
                <a16:creationId xmlns:a16="http://schemas.microsoft.com/office/drawing/2014/main" id="{D9061EC3-116F-BD6A-4028-131C8D5809F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3" name="Title 4">
            <a:extLst>
              <a:ext uri="{FF2B5EF4-FFF2-40B4-BE49-F238E27FC236}">
                <a16:creationId xmlns:a16="http://schemas.microsoft.com/office/drawing/2014/main" id="{C5BA791C-2748-8CEE-9674-5EA1C237725B}"/>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4" name="Text Placeholder 49">
            <a:extLst>
              <a:ext uri="{FF2B5EF4-FFF2-40B4-BE49-F238E27FC236}">
                <a16:creationId xmlns:a16="http://schemas.microsoft.com/office/drawing/2014/main" id="{F9596F73-FF6C-9658-E81B-E6DF210548B4}"/>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5" name="Text Placeholder 51">
            <a:extLst>
              <a:ext uri="{FF2B5EF4-FFF2-40B4-BE49-F238E27FC236}">
                <a16:creationId xmlns:a16="http://schemas.microsoft.com/office/drawing/2014/main" id="{A96513D8-24C5-5D8B-00A4-D7582B868EC0}"/>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Tree>
    <p:extLst>
      <p:ext uri="{BB962C8B-B14F-4D97-AF65-F5344CB8AC3E}">
        <p14:creationId xmlns:p14="http://schemas.microsoft.com/office/powerpoint/2010/main" val="5071104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Collage Left">
    <p:bg>
      <p:bgPr>
        <a:solidFill>
          <a:schemeClr val="bg1"/>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870386CD-9058-AED6-B1A7-BF68CBF6F4F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4">
            <a:extLst>
              <a:ext uri="{FF2B5EF4-FFF2-40B4-BE49-F238E27FC236}">
                <a16:creationId xmlns:a16="http://schemas.microsoft.com/office/drawing/2014/main" id="{6621D671-B219-9BB1-8C7E-D4C65DD460BF}"/>
              </a:ext>
              <a:ext uri="{C183D7F6-B498-43B3-948B-1728B52AA6E4}">
                <adec:decorative xmlns:adec="http://schemas.microsoft.com/office/drawing/2017/decorative" val="1"/>
              </a:ext>
            </a:extLst>
          </p:cNvPr>
          <p:cNvSpPr/>
          <p:nvPr/>
        </p:nvSpPr>
        <p:spPr>
          <a:xfrm>
            <a:off x="558271" y="669138"/>
            <a:ext cx="3568699" cy="4802982"/>
          </a:xfrm>
          <a:prstGeom prst="roundRect">
            <a:avLst>
              <a:gd name="adj" fmla="val 302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08" name="Rounded Rectangle 4">
            <a:extLst>
              <a:ext uri="{FF2B5EF4-FFF2-40B4-BE49-F238E27FC236}">
                <a16:creationId xmlns:a16="http://schemas.microsoft.com/office/drawing/2014/main" id="{C6FE87A1-4F4E-49BA-9674-A618D2119047}"/>
              </a:ext>
              <a:ext uri="{C183D7F6-B498-43B3-948B-1728B52AA6E4}">
                <adec:decorative xmlns:adec="http://schemas.microsoft.com/office/drawing/2017/decorative" val="1"/>
              </a:ext>
            </a:extLst>
          </p:cNvPr>
          <p:cNvSpPr/>
          <p:nvPr/>
        </p:nvSpPr>
        <p:spPr>
          <a:xfrm>
            <a:off x="4315456" y="426830"/>
            <a:ext cx="3564985" cy="1991227"/>
          </a:xfrm>
          <a:prstGeom prst="roundRect">
            <a:avLst>
              <a:gd name="adj" fmla="val 542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10" name="Rounded Rectangle 4">
            <a:extLst>
              <a:ext uri="{FF2B5EF4-FFF2-40B4-BE49-F238E27FC236}">
                <a16:creationId xmlns:a16="http://schemas.microsoft.com/office/drawing/2014/main" id="{CFBFDC7B-DBD1-9157-4DB2-9119675D8C1A}"/>
              </a:ext>
              <a:ext uri="{C183D7F6-B498-43B3-948B-1728B52AA6E4}">
                <adec:decorative xmlns:adec="http://schemas.microsoft.com/office/drawing/2017/decorative" val="1"/>
              </a:ext>
            </a:extLst>
          </p:cNvPr>
          <p:cNvSpPr/>
          <p:nvPr/>
        </p:nvSpPr>
        <p:spPr>
          <a:xfrm>
            <a:off x="4315456" y="2656180"/>
            <a:ext cx="3103365" cy="3531960"/>
          </a:xfrm>
          <a:prstGeom prst="roundRect">
            <a:avLst>
              <a:gd name="adj" fmla="val 3480"/>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12" name="Picture Placeholder 111">
            <a:extLst>
              <a:ext uri="{FF2B5EF4-FFF2-40B4-BE49-F238E27FC236}">
                <a16:creationId xmlns:a16="http://schemas.microsoft.com/office/drawing/2014/main" id="{F9507C36-2447-7B9D-EACC-8416F186BFA3}"/>
              </a:ext>
              <a:ext uri="{C183D7F6-B498-43B3-948B-1728B52AA6E4}">
                <adec:decorative xmlns:adec="http://schemas.microsoft.com/office/drawing/2017/decorative" val="1"/>
              </a:ext>
            </a:extLst>
          </p:cNvPr>
          <p:cNvSpPr>
            <a:spLocks noGrp="1"/>
          </p:cNvSpPr>
          <p:nvPr>
            <p:ph type="pic" sz="quarter" idx="13"/>
          </p:nvPr>
        </p:nvSpPr>
        <p:spPr>
          <a:xfrm>
            <a:off x="695231" y="806099"/>
            <a:ext cx="3294779" cy="4529060"/>
          </a:xfrm>
          <a:prstGeom prst="roundRect">
            <a:avLst>
              <a:gd name="adj" fmla="val 2185"/>
            </a:avLst>
          </a:prstGeom>
        </p:spPr>
        <p:txBody>
          <a:bodyPr/>
          <a:lstStyle>
            <a:lvl1pPr algn="ctr">
              <a:defRPr/>
            </a:lvl1pPr>
          </a:lstStyle>
          <a:p>
            <a:r>
              <a:rPr lang="en-US" dirty="0"/>
              <a:t>Click icon to add picture</a:t>
            </a:r>
          </a:p>
        </p:txBody>
      </p:sp>
      <p:sp>
        <p:nvSpPr>
          <p:cNvPr id="113" name="Picture Placeholder 111">
            <a:extLst>
              <a:ext uri="{FF2B5EF4-FFF2-40B4-BE49-F238E27FC236}">
                <a16:creationId xmlns:a16="http://schemas.microsoft.com/office/drawing/2014/main" id="{5D3E5626-0531-5682-CE11-3BA853CED355}"/>
              </a:ext>
              <a:ext uri="{C183D7F6-B498-43B3-948B-1728B52AA6E4}">
                <adec:decorative xmlns:adec="http://schemas.microsoft.com/office/drawing/2017/decorative" val="1"/>
              </a:ext>
            </a:extLst>
          </p:cNvPr>
          <p:cNvSpPr>
            <a:spLocks noGrp="1"/>
          </p:cNvSpPr>
          <p:nvPr>
            <p:ph type="pic" sz="quarter" idx="14"/>
          </p:nvPr>
        </p:nvSpPr>
        <p:spPr>
          <a:xfrm>
            <a:off x="4458759" y="570435"/>
            <a:ext cx="3271205" cy="1714065"/>
          </a:xfrm>
          <a:prstGeom prst="roundRect">
            <a:avLst>
              <a:gd name="adj" fmla="val 4268"/>
            </a:avLst>
          </a:prstGeom>
        </p:spPr>
        <p:txBody>
          <a:bodyPr/>
          <a:lstStyle>
            <a:lvl1pPr algn="ctr">
              <a:defRPr/>
            </a:lvl1pPr>
          </a:lstStyle>
          <a:p>
            <a:r>
              <a:rPr lang="en-US" dirty="0"/>
              <a:t>Click icon to add picture</a:t>
            </a:r>
          </a:p>
        </p:txBody>
      </p:sp>
      <p:sp>
        <p:nvSpPr>
          <p:cNvPr id="114" name="Picture Placeholder 111">
            <a:extLst>
              <a:ext uri="{FF2B5EF4-FFF2-40B4-BE49-F238E27FC236}">
                <a16:creationId xmlns:a16="http://schemas.microsoft.com/office/drawing/2014/main" id="{140C8AC9-0815-E4FA-F17C-9282B0B593D8}"/>
              </a:ext>
              <a:ext uri="{C183D7F6-B498-43B3-948B-1728B52AA6E4}">
                <adec:decorative xmlns:adec="http://schemas.microsoft.com/office/drawing/2017/decorative" val="1"/>
              </a:ext>
            </a:extLst>
          </p:cNvPr>
          <p:cNvSpPr>
            <a:spLocks noGrp="1"/>
          </p:cNvSpPr>
          <p:nvPr>
            <p:ph type="pic" sz="quarter" idx="15"/>
          </p:nvPr>
        </p:nvSpPr>
        <p:spPr>
          <a:xfrm>
            <a:off x="4452115" y="2793141"/>
            <a:ext cx="2830047" cy="3246015"/>
          </a:xfrm>
          <a:prstGeom prst="roundRect">
            <a:avLst>
              <a:gd name="adj" fmla="val 2448"/>
            </a:avLst>
          </a:prstGeom>
        </p:spPr>
        <p:txBody>
          <a:bodyPr/>
          <a:lstStyle>
            <a:lvl1pPr algn="ctr">
              <a:defRPr/>
            </a:lvl1pPr>
          </a:lstStyle>
          <a:p>
            <a:r>
              <a:rPr lang="en-US" dirty="0"/>
              <a:t>Click icon to add picture</a:t>
            </a:r>
          </a:p>
        </p:txBody>
      </p:sp>
      <p:sp>
        <p:nvSpPr>
          <p:cNvPr id="4" name="Title 1">
            <a:extLst>
              <a:ext uri="{FF2B5EF4-FFF2-40B4-BE49-F238E27FC236}">
                <a16:creationId xmlns:a16="http://schemas.microsoft.com/office/drawing/2014/main" id="{FB000E2B-AE9C-872A-A405-042E4BBAB076}"/>
              </a:ext>
            </a:extLst>
          </p:cNvPr>
          <p:cNvSpPr>
            <a:spLocks noGrp="1"/>
          </p:cNvSpPr>
          <p:nvPr>
            <p:ph type="title"/>
          </p:nvPr>
        </p:nvSpPr>
        <p:spPr>
          <a:xfrm>
            <a:off x="8062913" y="549276"/>
            <a:ext cx="3575051" cy="4049534"/>
          </a:xfrm>
          <a:prstGeom prst="rect">
            <a:avLst/>
          </a:prstGeom>
        </p:spPr>
        <p:txBody>
          <a:bodyPr lIns="0" tIns="0" rIns="0" bIns="0" anchor="b" anchorCtr="0">
            <a:noAutofit/>
          </a:bodyPr>
          <a:lstStyle>
            <a:lvl1pPr>
              <a:lnSpc>
                <a:spcPct val="85000"/>
              </a:lnSpc>
              <a:defRPr sz="4000" b="0" spc="0" baseline="0"/>
            </a:lvl1pPr>
          </a:lstStyle>
          <a:p>
            <a:endParaRPr lang="en-US"/>
          </a:p>
        </p:txBody>
      </p:sp>
      <p:sp>
        <p:nvSpPr>
          <p:cNvPr id="2" name="Text Placeholder 7">
            <a:extLst>
              <a:ext uri="{FF2B5EF4-FFF2-40B4-BE49-F238E27FC236}">
                <a16:creationId xmlns:a16="http://schemas.microsoft.com/office/drawing/2014/main" id="{40B2FA70-2EB2-0F88-1BCF-8D42CC0CD1F2}"/>
              </a:ext>
            </a:extLst>
          </p:cNvPr>
          <p:cNvSpPr>
            <a:spLocks noGrp="1"/>
          </p:cNvSpPr>
          <p:nvPr>
            <p:ph type="body" sz="quarter" idx="20"/>
          </p:nvPr>
        </p:nvSpPr>
        <p:spPr>
          <a:xfrm>
            <a:off x="8055393" y="4684294"/>
            <a:ext cx="3582570" cy="1500605"/>
          </a:xfrm>
          <a:prstGeom prst="rect">
            <a:avLst/>
          </a:prstGeom>
        </p:spPr>
        <p:txBody>
          <a:bodyPr lIns="0" tIns="0" rIns="0" bIns="0">
            <a:noAutofit/>
          </a:bodyPr>
          <a:lstStyle>
            <a:lvl1pPr marL="0" indent="0">
              <a:lnSpc>
                <a:spcPct val="100000"/>
              </a:lnSpc>
              <a:buFont typeface="ServiceNow Sans" panose="020B0504040101010104" pitchFamily="34" charset="0"/>
              <a:buNone/>
              <a:defRPr sz="1800" b="0" i="0" spc="0" baseline="0">
                <a:latin typeface="ServiceNow Sans Light" panose="020B0404040101010104" pitchFamily="34" charset="77"/>
                <a:cs typeface="ServiceNow Sans Light" panose="020B0404040101010104" pitchFamily="34" charset="77"/>
              </a:defRPr>
            </a:lvl1pPr>
          </a:lstStyle>
          <a:p>
            <a:pPr lvl="0"/>
            <a:endParaRPr lang="en-US"/>
          </a:p>
        </p:txBody>
      </p:sp>
      <p:pic>
        <p:nvPicPr>
          <p:cNvPr id="6" name="Picture 15">
            <a:extLst>
              <a:ext uri="{FF2B5EF4-FFF2-40B4-BE49-F238E27FC236}">
                <a16:creationId xmlns:a16="http://schemas.microsoft.com/office/drawing/2014/main" id="{8F39CC94-69B0-9A1D-EF2D-09418299F66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CF69AE53-0425-FF7A-42BB-6FD4643F528F}"/>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8" name="Picture 7">
            <a:extLst>
              <a:ext uri="{FF2B5EF4-FFF2-40B4-BE49-F238E27FC236}">
                <a16:creationId xmlns:a16="http://schemas.microsoft.com/office/drawing/2014/main" id="{F48495F4-3C16-AD2F-8282-CB31EB3BD00A}"/>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50663073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Intro Desktop">
    <p:bg>
      <p:bgPr>
        <a:solidFill>
          <a:schemeClr val="bg1"/>
        </a:solidFill>
        <a:effectLst/>
      </p:bgPr>
    </p:bg>
    <p:spTree>
      <p:nvGrpSpPr>
        <p:cNvPr id="1" name=""/>
        <p:cNvGrpSpPr/>
        <p:nvPr/>
      </p:nvGrpSpPr>
      <p:grpSpPr>
        <a:xfrm>
          <a:off x="0" y="0"/>
          <a:ext cx="0" cy="0"/>
          <a:chOff x="0" y="0"/>
          <a:chExt cx="0" cy="0"/>
        </a:xfrm>
      </p:grpSpPr>
      <p:pic>
        <p:nvPicPr>
          <p:cNvPr id="4" name="Picture 3" descr="A green and blue gradient&#10;&#10;AI-generated content may be incorrect.">
            <a:extLst>
              <a:ext uri="{FF2B5EF4-FFF2-40B4-BE49-F238E27FC236}">
                <a16:creationId xmlns:a16="http://schemas.microsoft.com/office/drawing/2014/main" id="{485FB02E-FE33-5C9A-54BB-10B69B728AD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4776" y="1560021"/>
            <a:ext cx="6428232" cy="3758137"/>
          </a:xfrm>
          <a:prstGeom prst="roundRect">
            <a:avLst>
              <a:gd name="adj" fmla="val 287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8" y="1710740"/>
            <a:ext cx="6126789" cy="3456696"/>
          </a:xfrm>
          <a:prstGeom prst="roundRect">
            <a:avLst>
              <a:gd name="adj" fmla="val 2066"/>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dirty="0"/>
              <a:t>Click icon to add demo screen</a:t>
            </a:r>
          </a:p>
        </p:txBody>
      </p:sp>
      <p:sp>
        <p:nvSpPr>
          <p:cNvPr id="6" name="Title 1">
            <a:extLst>
              <a:ext uri="{FF2B5EF4-FFF2-40B4-BE49-F238E27FC236}">
                <a16:creationId xmlns:a16="http://schemas.microsoft.com/office/drawing/2014/main" id="{7A2EDB15-2C76-1527-9A7C-70B004568D03}"/>
              </a:ext>
            </a:extLst>
          </p:cNvPr>
          <p:cNvSpPr>
            <a:spLocks noGrp="1"/>
          </p:cNvSpPr>
          <p:nvPr>
            <p:ph type="title"/>
          </p:nvPr>
        </p:nvSpPr>
        <p:spPr>
          <a:xfrm>
            <a:off x="549275" y="549274"/>
            <a:ext cx="4173538" cy="3053843"/>
          </a:xfrm>
          <a:prstGeom prst="rect">
            <a:avLst/>
          </a:prstGeom>
        </p:spPr>
        <p:txBody>
          <a:bodyPr vert="horz" lIns="0" tIns="0" rIns="0" bIns="0" rtlCol="0" anchor="b" anchorCtr="0">
            <a:noAutofit/>
          </a:bodyPr>
          <a:lstStyle>
            <a:lvl1pPr>
              <a:defRPr lang="en-US" b="0" spc="0"/>
            </a:lvl1pPr>
          </a:lstStyle>
          <a:p>
            <a:pPr lvl="0"/>
            <a:endParaRPr lang="en-US"/>
          </a:p>
        </p:txBody>
      </p:sp>
      <p:sp>
        <p:nvSpPr>
          <p:cNvPr id="5" name="Text Placeholder 7">
            <a:extLst>
              <a:ext uri="{FF2B5EF4-FFF2-40B4-BE49-F238E27FC236}">
                <a16:creationId xmlns:a16="http://schemas.microsoft.com/office/drawing/2014/main" id="{7B3E4B27-3312-9155-5288-5ED985182295}"/>
              </a:ext>
            </a:extLst>
          </p:cNvPr>
          <p:cNvSpPr>
            <a:spLocks noGrp="1"/>
          </p:cNvSpPr>
          <p:nvPr>
            <p:ph type="body" sz="quarter" idx="12"/>
          </p:nvPr>
        </p:nvSpPr>
        <p:spPr>
          <a:xfrm>
            <a:off x="549275" y="3703320"/>
            <a:ext cx="4173538" cy="2495216"/>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endParaRPr lang="en-US"/>
          </a:p>
        </p:txBody>
      </p:sp>
      <p:pic>
        <p:nvPicPr>
          <p:cNvPr id="7" name="Picture 15">
            <a:extLst>
              <a:ext uri="{FF2B5EF4-FFF2-40B4-BE49-F238E27FC236}">
                <a16:creationId xmlns:a16="http://schemas.microsoft.com/office/drawing/2014/main" id="{EA1F4C92-9E64-CD59-FB47-6ED66EAD9B0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B9A6B54B-9F69-58F1-487A-F7DA1E65B746}"/>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2" name="Picture 1">
            <a:extLst>
              <a:ext uri="{FF2B5EF4-FFF2-40B4-BE49-F238E27FC236}">
                <a16:creationId xmlns:a16="http://schemas.microsoft.com/office/drawing/2014/main" id="{B1D91FC7-A7C8-7599-4BA1-938FB290C905}"/>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5227307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Intro Tablet">
    <p:bg>
      <p:bgPr>
        <a:solidFill>
          <a:schemeClr val="bg1"/>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38E07ECE-B045-33AC-84C7-02C1B58E3CB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2828" y="960687"/>
            <a:ext cx="6431964" cy="4907374"/>
          </a:xfrm>
          <a:prstGeom prst="roundRect">
            <a:avLst>
              <a:gd name="adj" fmla="val 22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9" y="1111405"/>
            <a:ext cx="6126789" cy="4605935"/>
          </a:xfrm>
          <a:prstGeom prst="roundRect">
            <a:avLst>
              <a:gd name="adj" fmla="val 1559"/>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dirty="0"/>
              <a:t>Click icon to add demo screen</a:t>
            </a:r>
          </a:p>
        </p:txBody>
      </p:sp>
      <p:sp>
        <p:nvSpPr>
          <p:cNvPr id="4" name="Title 1">
            <a:extLst>
              <a:ext uri="{FF2B5EF4-FFF2-40B4-BE49-F238E27FC236}">
                <a16:creationId xmlns:a16="http://schemas.microsoft.com/office/drawing/2014/main" id="{42BE7FCC-FAFC-05EC-91DC-EC3B4F5E950D}"/>
              </a:ext>
            </a:extLst>
          </p:cNvPr>
          <p:cNvSpPr>
            <a:spLocks noGrp="1"/>
          </p:cNvSpPr>
          <p:nvPr>
            <p:ph type="title"/>
          </p:nvPr>
        </p:nvSpPr>
        <p:spPr>
          <a:xfrm>
            <a:off x="549275" y="549274"/>
            <a:ext cx="4173538" cy="3053843"/>
          </a:xfrm>
          <a:prstGeom prst="rect">
            <a:avLst/>
          </a:prstGeom>
        </p:spPr>
        <p:txBody>
          <a:bodyPr lIns="0" tIns="0" rIns="0" bIns="0" anchor="b">
            <a:noAutofit/>
          </a:bodyPr>
          <a:lstStyle>
            <a:lvl1pPr>
              <a:lnSpc>
                <a:spcPct val="85000"/>
              </a:lnSpc>
              <a:defRPr sz="4000" b="0" spc="0" baseline="0"/>
            </a:lvl1pPr>
          </a:lstStyle>
          <a:p>
            <a:endParaRPr lang="en-US"/>
          </a:p>
        </p:txBody>
      </p:sp>
      <p:sp>
        <p:nvSpPr>
          <p:cNvPr id="2" name="Text Placeholder 7">
            <a:extLst>
              <a:ext uri="{FF2B5EF4-FFF2-40B4-BE49-F238E27FC236}">
                <a16:creationId xmlns:a16="http://schemas.microsoft.com/office/drawing/2014/main" id="{DB803A25-483C-5EC0-1F0C-5D359211BAEE}"/>
              </a:ext>
            </a:extLst>
          </p:cNvPr>
          <p:cNvSpPr>
            <a:spLocks noGrp="1"/>
          </p:cNvSpPr>
          <p:nvPr>
            <p:ph type="body" sz="quarter" idx="12"/>
          </p:nvPr>
        </p:nvSpPr>
        <p:spPr>
          <a:xfrm>
            <a:off x="549275" y="3703320"/>
            <a:ext cx="4173538"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endParaRPr lang="en-US"/>
          </a:p>
        </p:txBody>
      </p:sp>
      <p:pic>
        <p:nvPicPr>
          <p:cNvPr id="6" name="Picture 15">
            <a:extLst>
              <a:ext uri="{FF2B5EF4-FFF2-40B4-BE49-F238E27FC236}">
                <a16:creationId xmlns:a16="http://schemas.microsoft.com/office/drawing/2014/main" id="{336A6C0A-377E-AE6F-6849-0C4098DF080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3609705D-6100-6E8B-B4B6-FDF6984956F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8" name="Picture 7">
            <a:extLst>
              <a:ext uri="{FF2B5EF4-FFF2-40B4-BE49-F238E27FC236}">
                <a16:creationId xmlns:a16="http://schemas.microsoft.com/office/drawing/2014/main" id="{42F932EE-8CFC-9AF0-6EF5-763943CD00E6}"/>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21111051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Intr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AA6F15CF-99A3-C779-62E0-A5F8439F39D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6877174" y="457202"/>
            <a:ext cx="3052618" cy="5832441"/>
          </a:xfrm>
          <a:prstGeom prst="roundRect">
            <a:avLst>
              <a:gd name="adj" fmla="val 35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7027897" y="607921"/>
            <a:ext cx="2751174" cy="5531000"/>
          </a:xfrm>
          <a:prstGeom prst="roundRect">
            <a:avLst>
              <a:gd name="adj" fmla="val 2591"/>
            </a:avLst>
          </a:prstGeom>
          <a:solidFill>
            <a:srgbClr val="021829">
              <a:alpha val="90000"/>
            </a:srgbClr>
          </a:solidFill>
        </p:spPr>
        <p:txBody>
          <a:bodyPr vert="horz" lIns="0" tIns="0" rIns="0" bIns="0" rtlCol="0">
            <a:noAutofit/>
          </a:bodyPr>
          <a:lstStyle>
            <a:lvl1pPr marL="0" indent="0">
              <a:defRPr lang="en-US" spc="0"/>
            </a:lvl1pPr>
          </a:lstStyle>
          <a:p>
            <a:pPr marL="285750" lvl="0" indent="-285750" algn="ctr">
              <a:lnSpc>
                <a:spcPct val="82000"/>
              </a:lnSpc>
              <a:buNone/>
            </a:pPr>
            <a:r>
              <a:rPr lang="en-US" dirty="0"/>
              <a:t>Click icon to add demo screen</a:t>
            </a:r>
          </a:p>
        </p:txBody>
      </p:sp>
      <p:sp>
        <p:nvSpPr>
          <p:cNvPr id="8" name="Title 1">
            <a:extLst>
              <a:ext uri="{FF2B5EF4-FFF2-40B4-BE49-F238E27FC236}">
                <a16:creationId xmlns:a16="http://schemas.microsoft.com/office/drawing/2014/main" id="{75A0DE3B-8C41-520E-471B-EA2D566290D4}"/>
              </a:ext>
            </a:extLst>
          </p:cNvPr>
          <p:cNvSpPr>
            <a:spLocks noGrp="1"/>
          </p:cNvSpPr>
          <p:nvPr>
            <p:ph type="title"/>
          </p:nvPr>
        </p:nvSpPr>
        <p:spPr>
          <a:xfrm>
            <a:off x="548639" y="549274"/>
            <a:ext cx="5639436" cy="3053843"/>
          </a:xfrm>
          <a:prstGeom prst="rect">
            <a:avLst/>
          </a:prstGeom>
        </p:spPr>
        <p:txBody>
          <a:bodyPr vert="horz" lIns="0" tIns="0" rIns="0" bIns="0" rtlCol="0" anchor="b" anchorCtr="0">
            <a:noAutofit/>
          </a:bodyPr>
          <a:lstStyle>
            <a:lvl1pPr>
              <a:defRPr lang="en-US" b="0" spc="0"/>
            </a:lvl1pPr>
          </a:lstStyle>
          <a:p>
            <a:pPr lvl="0"/>
            <a:endParaRPr lang="en-US"/>
          </a:p>
        </p:txBody>
      </p:sp>
      <p:sp>
        <p:nvSpPr>
          <p:cNvPr id="6" name="Text Placeholder 7">
            <a:extLst>
              <a:ext uri="{FF2B5EF4-FFF2-40B4-BE49-F238E27FC236}">
                <a16:creationId xmlns:a16="http://schemas.microsoft.com/office/drawing/2014/main" id="{22B314BA-822D-E6D9-3F1F-C159BD39F403}"/>
              </a:ext>
            </a:extLst>
          </p:cNvPr>
          <p:cNvSpPr>
            <a:spLocks noGrp="1"/>
          </p:cNvSpPr>
          <p:nvPr>
            <p:ph type="body" sz="quarter" idx="12"/>
          </p:nvPr>
        </p:nvSpPr>
        <p:spPr>
          <a:xfrm>
            <a:off x="548639" y="3703320"/>
            <a:ext cx="5639436"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endParaRPr lang="en-US"/>
          </a:p>
        </p:txBody>
      </p:sp>
      <p:pic>
        <p:nvPicPr>
          <p:cNvPr id="4" name="Picture 15">
            <a:extLst>
              <a:ext uri="{FF2B5EF4-FFF2-40B4-BE49-F238E27FC236}">
                <a16:creationId xmlns:a16="http://schemas.microsoft.com/office/drawing/2014/main" id="{FC8AC1F9-7F69-3E2B-3427-15A41DF52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8B392FC9-DFA1-FA6A-F7B1-ADD042F0686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1B06A753-964F-D78A-690F-717DD6CC6AD5}"/>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309986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Desktop">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FAC66CF5-5464-7B42-89EC-AE89CDD88E0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1320203" y="551032"/>
            <a:ext cx="9548418" cy="5582291"/>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1470925" y="701750"/>
            <a:ext cx="9246974" cy="5280852"/>
          </a:xfrm>
          <a:prstGeom prst="roundRect">
            <a:avLst>
              <a:gd name="adj" fmla="val 1356"/>
            </a:avLst>
          </a:prstGeom>
          <a:solidFill>
            <a:srgbClr val="021829">
              <a:alpha val="90000"/>
            </a:srgbClr>
          </a:solidFill>
        </p:spPr>
        <p:txBody>
          <a:bodyPr vert="horz" lIns="0" tIns="0" rIns="0" bIns="0" rtlCol="0">
            <a:noAutofit/>
          </a:bodyPr>
          <a:lstStyle>
            <a:lvl1pPr>
              <a:defRPr lang="en-US" spc="0"/>
            </a:lvl1pPr>
          </a:lstStyle>
          <a:p>
            <a:pPr marL="285750" lvl="0" indent="-285750" algn="ctr">
              <a:lnSpc>
                <a:spcPct val="82000"/>
              </a:lnSpc>
              <a:buNone/>
            </a:pPr>
            <a:r>
              <a:rPr lang="en-US" dirty="0"/>
              <a:t>Click icon to add demo screen</a:t>
            </a:r>
          </a:p>
        </p:txBody>
      </p:sp>
      <p:pic>
        <p:nvPicPr>
          <p:cNvPr id="4" name="Picture 15">
            <a:extLst>
              <a:ext uri="{FF2B5EF4-FFF2-40B4-BE49-F238E27FC236}">
                <a16:creationId xmlns:a16="http://schemas.microsoft.com/office/drawing/2014/main" id="{5D06513A-8E03-2791-A933-B376749D8962}"/>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3DA78E42-D51A-0C6F-39C8-3871D0630D8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6" name="Picture 5">
            <a:extLst>
              <a:ext uri="{FF2B5EF4-FFF2-40B4-BE49-F238E27FC236}">
                <a16:creationId xmlns:a16="http://schemas.microsoft.com/office/drawing/2014/main" id="{00504EC5-CFCC-8319-065C-7BD52DF56C7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17368384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Tablet Horizont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EEADFF52-592E-26D1-1F46-194189CE0F9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2436133" y="548640"/>
            <a:ext cx="7316558" cy="5582290"/>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2586855" y="699359"/>
            <a:ext cx="7015114" cy="5280849"/>
          </a:xfrm>
          <a:prstGeom prst="roundRect">
            <a:avLst>
              <a:gd name="adj" fmla="val 1356"/>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dirty="0"/>
              <a:t>Click icon to add demo screen</a:t>
            </a:r>
          </a:p>
        </p:txBody>
      </p:sp>
      <p:pic>
        <p:nvPicPr>
          <p:cNvPr id="3" name="Picture 15">
            <a:extLst>
              <a:ext uri="{FF2B5EF4-FFF2-40B4-BE49-F238E27FC236}">
                <a16:creationId xmlns:a16="http://schemas.microsoft.com/office/drawing/2014/main" id="{48A1958D-9D28-7111-8A62-7489149E913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F977A96F-233F-3031-88ED-F82AF6CB033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AEC6EDDD-5A0A-F108-140C-A3F0DFEF3F66}"/>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1848343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Tablet Vertic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73B46ED-4990-EF0B-AF1E-64D0EB8BEEB6}"/>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3942065" y="553719"/>
            <a:ext cx="4304694" cy="5636260"/>
          </a:xfrm>
          <a:prstGeom prst="roundRect">
            <a:avLst>
              <a:gd name="adj" fmla="val 2533"/>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4092787" y="699360"/>
            <a:ext cx="4003251" cy="5339899"/>
          </a:xfrm>
          <a:prstGeom prst="roundRect">
            <a:avLst>
              <a:gd name="adj" fmla="val 1805"/>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dirty="0"/>
              <a:t>Click icon to add demo screen</a:t>
            </a:r>
          </a:p>
        </p:txBody>
      </p:sp>
      <p:pic>
        <p:nvPicPr>
          <p:cNvPr id="3" name="Picture 15">
            <a:extLst>
              <a:ext uri="{FF2B5EF4-FFF2-40B4-BE49-F238E27FC236}">
                <a16:creationId xmlns:a16="http://schemas.microsoft.com/office/drawing/2014/main" id="{E115E4C0-6ED1-549F-19C8-9B63AF13B8F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1ABB699B-A420-024E-EF00-BD9DA40AFE6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9DD9AB2D-D338-9A7A-8B24-CACF0988D5B7}"/>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19700695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pos="3839"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5DBED44-1915-E007-F0EC-32C9152AC8F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7">
            <a:extLst>
              <a:ext uri="{FF2B5EF4-FFF2-40B4-BE49-F238E27FC236}">
                <a16:creationId xmlns:a16="http://schemas.microsoft.com/office/drawing/2014/main" id="{79F50E63-AD4B-EFAF-C9B3-7A2A80EDCA08}"/>
              </a:ext>
              <a:ext uri="{C183D7F6-B498-43B3-948B-1728B52AA6E4}">
                <adec:decorative xmlns:adec="http://schemas.microsoft.com/office/drawing/2017/decorative" val="1"/>
              </a:ext>
            </a:extLst>
          </p:cNvPr>
          <p:cNvSpPr/>
          <p:nvPr/>
        </p:nvSpPr>
        <p:spPr>
          <a:xfrm>
            <a:off x="4631638" y="548640"/>
            <a:ext cx="2949939" cy="5636260"/>
          </a:xfrm>
          <a:prstGeom prst="roundRect">
            <a:avLst>
              <a:gd name="adj" fmla="val 369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6" name="Picture Placeholder 3">
            <a:extLst>
              <a:ext uri="{FF2B5EF4-FFF2-40B4-BE49-F238E27FC236}">
                <a16:creationId xmlns:a16="http://schemas.microsoft.com/office/drawing/2014/main" id="{B52E2E12-B439-3F66-1F16-D41B58C02988}"/>
              </a:ext>
              <a:ext uri="{C183D7F6-B498-43B3-948B-1728B52AA6E4}">
                <adec:decorative xmlns:adec="http://schemas.microsoft.com/office/drawing/2017/decorative" val="1"/>
              </a:ext>
            </a:extLst>
          </p:cNvPr>
          <p:cNvSpPr>
            <a:spLocks noGrp="1"/>
          </p:cNvSpPr>
          <p:nvPr>
            <p:ph type="pic" sz="quarter" idx="16" hasCustomPrompt="1"/>
          </p:nvPr>
        </p:nvSpPr>
        <p:spPr>
          <a:xfrm>
            <a:off x="4782360" y="699359"/>
            <a:ext cx="2648495" cy="5339899"/>
          </a:xfrm>
          <a:prstGeom prst="roundRect">
            <a:avLst>
              <a:gd name="adj" fmla="val 2715"/>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dirty="0"/>
              <a:t>Click icon to add demo screen</a:t>
            </a:r>
          </a:p>
        </p:txBody>
      </p:sp>
      <p:pic>
        <p:nvPicPr>
          <p:cNvPr id="4" name="Picture 15">
            <a:extLst>
              <a:ext uri="{FF2B5EF4-FFF2-40B4-BE49-F238E27FC236}">
                <a16:creationId xmlns:a16="http://schemas.microsoft.com/office/drawing/2014/main" id="{8E7D6CE6-0B31-673F-1AB3-1C570C7876C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BAD4472F-75D5-493E-3F8E-0FFA1978BDEE}"/>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6">
            <a:extLst>
              <a:ext uri="{FF2B5EF4-FFF2-40B4-BE49-F238E27FC236}">
                <a16:creationId xmlns:a16="http://schemas.microsoft.com/office/drawing/2014/main" id="{30CE8652-9224-AAE8-1647-AB59524CF1B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38576125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afe Harbor">
    <p:bg>
      <p:bgPr>
        <a:solidFill>
          <a:schemeClr val="bg2"/>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0E5A1A88-7D88-876E-44CB-5393E7AFF5F1}"/>
              </a:ext>
            </a:extLst>
          </p:cNvPr>
          <p:cNvPicPr>
            <a:picLocks noGrp="1" noRot="1" noMove="1" noResize="1" noEditPoints="1" noAdjustHandles="1" noChangeArrowheads="1" noChangeShapeType="1" noCrop="1"/>
          </p:cNvPicPr>
          <p:nvPr userDrawn="1"/>
        </p:nvPicPr>
        <p:blipFill>
          <a:blip r:embed="rId2"/>
          <a:stretch>
            <a:fillRect/>
          </a:stretch>
        </p:blipFill>
        <p:spPr>
          <a:xfrm>
            <a:off x="-1" y="892"/>
            <a:ext cx="12190417" cy="6867144"/>
          </a:xfrm>
          <a:prstGeom prst="rect">
            <a:avLst/>
          </a:prstGeom>
        </p:spPr>
      </p:pic>
      <p:sp>
        <p:nvSpPr>
          <p:cNvPr id="3" name="Title Placeholder 1">
            <a:extLst>
              <a:ext uri="{FF2B5EF4-FFF2-40B4-BE49-F238E27FC236}">
                <a16:creationId xmlns:a16="http://schemas.microsoft.com/office/drawing/2014/main" id="{2A3B37A9-C0C9-30B9-7631-32CB3C37341D}"/>
              </a:ext>
            </a:extLst>
          </p:cNvPr>
          <p:cNvSpPr>
            <a:spLocks noGrp="1"/>
          </p:cNvSpPr>
          <p:nvPr>
            <p:ph type="title"/>
          </p:nvPr>
        </p:nvSpPr>
        <p:spPr>
          <a:xfrm>
            <a:off x="548640" y="493776"/>
            <a:ext cx="11089323" cy="1097248"/>
          </a:xfrm>
          <a:prstGeom prst="rect">
            <a:avLst/>
          </a:prstGeom>
        </p:spPr>
        <p:txBody>
          <a:bodyPr vert="horz" lIns="0" tIns="0" rIns="0" bIns="0" rtlCol="0" anchor="b" anchorCtr="0">
            <a:noAutofit/>
          </a:bodyPr>
          <a:lstStyle>
            <a:lvl1pPr>
              <a:defRPr b="0" spc="0">
                <a:solidFill>
                  <a:schemeClr val="bg1"/>
                </a:solidFill>
                <a:latin typeface="+mj-lt"/>
              </a:defRPr>
            </a:lvl1pPr>
          </a:lstStyle>
          <a:p>
            <a:pPr lvl="0"/>
            <a:endParaRPr lang="en-US"/>
          </a:p>
        </p:txBody>
      </p:sp>
      <p:sp>
        <p:nvSpPr>
          <p:cNvPr id="2" name="Rectangle 1">
            <a:extLst>
              <a:ext uri="{FF2B5EF4-FFF2-40B4-BE49-F238E27FC236}">
                <a16:creationId xmlns:a16="http://schemas.microsoft.com/office/drawing/2014/main" id="{4A19099F-3F2F-CEB9-4DC7-5102A3C28C0B}"/>
              </a:ext>
            </a:extLst>
          </p:cNvPr>
          <p:cNvSpPr/>
          <p:nvPr/>
        </p:nvSpPr>
        <p:spPr bwMode="gray">
          <a:xfrm>
            <a:off x="548640" y="1967375"/>
            <a:ext cx="11089323" cy="3634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2" spcCol="914400" rtlCol="0" anchor="t">
            <a:noAutofit/>
          </a:bodyPr>
          <a:lstStyle/>
          <a:p>
            <a:pPr>
              <a:lnSpc>
                <a:spcPct val="130000"/>
              </a:lnSpc>
            </a:pPr>
            <a:r>
              <a:rPr lang="en-US" sz="1400" b="0" i="0" spc="0" baseline="0" dirty="0">
                <a:solidFill>
                  <a:schemeClr val="bg1"/>
                </a:solidFill>
                <a:latin typeface="ServiceNow Sans Light" panose="020B0404040101010104" pitchFamily="34" charset="77"/>
                <a:cs typeface="ServiceNow Sans Light" panose="020B0404040101010104" pitchFamily="34" charset="77"/>
              </a:rPr>
              <a:t>This presentation may contain “forward-looking” statements </a:t>
            </a:r>
            <a:br>
              <a:rPr lang="en-US" sz="1400" b="0" i="0" spc="0" baseline="0" dirty="0">
                <a:solidFill>
                  <a:schemeClr val="bg1"/>
                </a:solidFill>
                <a:latin typeface="ServiceNow Sans Light" panose="020B0404040101010104" pitchFamily="34" charset="77"/>
                <a:cs typeface="ServiceNow Sans Light" panose="020B0404040101010104" pitchFamily="34" charset="77"/>
              </a:rPr>
            </a:br>
            <a:r>
              <a:rPr lang="en-US" sz="1400" b="0" i="0" spc="0" baseline="0" dirty="0">
                <a:solidFill>
                  <a:schemeClr val="bg1"/>
                </a:solidFill>
                <a:latin typeface="ServiceNow Sans Light" panose="020B0404040101010104" pitchFamily="34" charset="77"/>
                <a:cs typeface="ServiceNow Sans Light" panose="020B0404040101010104" pitchFamily="34" charset="77"/>
              </a:rPr>
              <a:t>that are based on our beliefs and assumptions and on information currently available to us only as of the date of this presentation. Forward‑looking statements involve known and unknown risks, uncertainties, and other factors that may cause actual results to differ materially from those expected or implied by the forward‑looking statements. Further information on these and other factors that could cause or contribute to such differences include, but are not limited to, those discussed in the section titled “Risk Factors,” set forth in our most recent Annual Report on Form 10-K and Quarterly Report on Form 10-Q and in our other Securities and Exchange Commission filings. We cannot guarantee that </a:t>
            </a:r>
            <a:br>
              <a:rPr lang="en-US" sz="1400" b="0" i="0" spc="0" baseline="0" dirty="0">
                <a:solidFill>
                  <a:schemeClr val="bg1"/>
                </a:solidFill>
                <a:latin typeface="ServiceNow Sans Light" panose="020B0404040101010104" pitchFamily="34" charset="77"/>
                <a:cs typeface="ServiceNow Sans Light" panose="020B0404040101010104" pitchFamily="34" charset="77"/>
              </a:rPr>
            </a:br>
            <a:r>
              <a:rPr lang="en-US" sz="1400" b="0" i="0" spc="0" baseline="0" dirty="0">
                <a:solidFill>
                  <a:schemeClr val="bg1"/>
                </a:solidFill>
                <a:latin typeface="ServiceNow Sans Light" panose="020B0404040101010104" pitchFamily="34" charset="77"/>
                <a:cs typeface="ServiceNow Sans Light" panose="020B0404040101010104" pitchFamily="34" charset="77"/>
              </a:rPr>
              <a:t>we will achieve the plans, intentions, or expectations disclosed in our forward‐looking statements, and you should not place undue reliance on our forward‐looking statements. The information on new products, features, or functionality is intended to outline our general product direction and should not be relied upon in making a purchasing decision, is for informational purposes only, and shall not be incorporated into any contract, and is not a commitment, promise, or legal obligation to deliver any material, code, or functionality. </a:t>
            </a:r>
            <a:br>
              <a:rPr lang="en-US" sz="1400" b="0" i="0" spc="0" baseline="0" dirty="0">
                <a:solidFill>
                  <a:schemeClr val="bg1"/>
                </a:solidFill>
                <a:latin typeface="ServiceNow Sans Light" panose="020B0404040101010104" pitchFamily="34" charset="77"/>
                <a:cs typeface="ServiceNow Sans Light" panose="020B0404040101010104" pitchFamily="34" charset="77"/>
              </a:rPr>
            </a:br>
            <a:r>
              <a:rPr lang="en-US" sz="1400" b="0" i="0" spc="0" baseline="0" dirty="0">
                <a:solidFill>
                  <a:schemeClr val="bg1"/>
                </a:solidFill>
                <a:latin typeface="ServiceNow Sans Light" panose="020B0404040101010104" pitchFamily="34" charset="77"/>
                <a:cs typeface="ServiceNow Sans Light" panose="020B0404040101010104" pitchFamily="34" charset="77"/>
              </a:rPr>
              <a:t>The development, release, and timing of any features or functionality described for our products remains at our sole discretion. We undertake no obligation, and do not intend, </a:t>
            </a:r>
          </a:p>
          <a:p>
            <a:pPr>
              <a:lnSpc>
                <a:spcPct val="130000"/>
              </a:lnSpc>
            </a:pPr>
            <a:r>
              <a:rPr lang="en-US" sz="1400" b="0" i="0" spc="0" baseline="0" dirty="0">
                <a:solidFill>
                  <a:schemeClr val="bg1"/>
                </a:solidFill>
                <a:latin typeface="ServiceNow Sans Light" panose="020B0404040101010104" pitchFamily="34" charset="77"/>
                <a:cs typeface="ServiceNow Sans Light" panose="020B0404040101010104" pitchFamily="34" charset="77"/>
              </a:rPr>
              <a:t>to update the forward‑looking statements.</a:t>
            </a:r>
          </a:p>
        </p:txBody>
      </p:sp>
      <p:pic>
        <p:nvPicPr>
          <p:cNvPr id="6" name="Picture 15">
            <a:extLst>
              <a:ext uri="{FF2B5EF4-FFF2-40B4-BE49-F238E27FC236}">
                <a16:creationId xmlns:a16="http://schemas.microsoft.com/office/drawing/2014/main" id="{F87328AC-45BC-6C71-FD19-CFB2DF22C36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AB8EFC8A-FA05-8417-FB3D-3D4254ABEA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4" name="Picture 3">
            <a:extLst>
              <a:ext uri="{FF2B5EF4-FFF2-40B4-BE49-F238E27FC236}">
                <a16:creationId xmlns:a16="http://schemas.microsoft.com/office/drawing/2014/main" id="{EE28CB86-B5C0-6BE5-2AEA-787CBDB78B4F}"/>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7997725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hank You Blue">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881161E-434F-D00A-AF55-E770E140463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4" name="Graphic 3">
            <a:extLst>
              <a:ext uri="{FF2B5EF4-FFF2-40B4-BE49-F238E27FC236}">
                <a16:creationId xmlns:a16="http://schemas.microsoft.com/office/drawing/2014/main" id="{C3E7ECC1-519D-F8C3-F679-E8BE49D84CFE}"/>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05" name="Title 47">
            <a:extLst>
              <a:ext uri="{FF2B5EF4-FFF2-40B4-BE49-F238E27FC236}">
                <a16:creationId xmlns:a16="http://schemas.microsoft.com/office/drawing/2014/main" id="{3EC7AAD7-ECFB-5F41-CFDF-EB4EF53C0C7B}"/>
              </a:ext>
            </a:extLst>
          </p:cNvPr>
          <p:cNvSpPr>
            <a:spLocks noGrp="1"/>
          </p:cNvSpPr>
          <p:nvPr>
            <p:ph type="title"/>
          </p:nvPr>
        </p:nvSpPr>
        <p:spPr>
          <a:xfrm>
            <a:off x="548640" y="549275"/>
            <a:ext cx="8273098" cy="3590857"/>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spTree>
    <p:extLst>
      <p:ext uri="{BB962C8B-B14F-4D97-AF65-F5344CB8AC3E}">
        <p14:creationId xmlns:p14="http://schemas.microsoft.com/office/powerpoint/2010/main" val="13828261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Blue_Confidential">
    <p:bg>
      <p:bgPr>
        <a:solidFill>
          <a:schemeClr val="bg2"/>
        </a:solidFill>
        <a:effectLst/>
      </p:bgPr>
    </p:bg>
    <p:spTree>
      <p:nvGrpSpPr>
        <p:cNvPr id="1" name=""/>
        <p:cNvGrpSpPr/>
        <p:nvPr/>
      </p:nvGrpSpPr>
      <p:grpSpPr>
        <a:xfrm>
          <a:off x="0" y="0"/>
          <a:ext cx="0" cy="0"/>
          <a:chOff x="0" y="0"/>
          <a:chExt cx="0" cy="0"/>
        </a:xfrm>
      </p:grpSpPr>
      <p:pic>
        <p:nvPicPr>
          <p:cNvPr id="10" name="Picture 9" descr="A blue and white background&#10;&#10;AI-generated content may be incorrect.">
            <a:extLst>
              <a:ext uri="{FF2B5EF4-FFF2-40B4-BE49-F238E27FC236}">
                <a16:creationId xmlns:a16="http://schemas.microsoft.com/office/drawing/2014/main" id="{15ECAD2C-127C-9BE4-04CA-7DC8FE568E0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67144"/>
          </a:xfrm>
          <a:prstGeom prst="rect">
            <a:avLst/>
          </a:prstGeom>
        </p:spPr>
      </p:pic>
      <p:pic>
        <p:nvPicPr>
          <p:cNvPr id="9" name="Graphic 8">
            <a:extLst>
              <a:ext uri="{FF2B5EF4-FFF2-40B4-BE49-F238E27FC236}">
                <a16:creationId xmlns:a16="http://schemas.microsoft.com/office/drawing/2014/main" id="{D9061EC3-116F-BD6A-4028-131C8D5809F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3" name="Title 4">
            <a:extLst>
              <a:ext uri="{FF2B5EF4-FFF2-40B4-BE49-F238E27FC236}">
                <a16:creationId xmlns:a16="http://schemas.microsoft.com/office/drawing/2014/main" id="{C5BA791C-2748-8CEE-9674-5EA1C237725B}"/>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4" name="Text Placeholder 49">
            <a:extLst>
              <a:ext uri="{FF2B5EF4-FFF2-40B4-BE49-F238E27FC236}">
                <a16:creationId xmlns:a16="http://schemas.microsoft.com/office/drawing/2014/main" id="{F9596F73-FF6C-9658-E81B-E6DF210548B4}"/>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5" name="Text Placeholder 51">
            <a:extLst>
              <a:ext uri="{FF2B5EF4-FFF2-40B4-BE49-F238E27FC236}">
                <a16:creationId xmlns:a16="http://schemas.microsoft.com/office/drawing/2014/main" id="{A96513D8-24C5-5D8B-00A4-D7582B868EC0}"/>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
        <p:nvSpPr>
          <p:cNvPr id="7" name="TextBox 6">
            <a:extLst>
              <a:ext uri="{FF2B5EF4-FFF2-40B4-BE49-F238E27FC236}">
                <a16:creationId xmlns:a16="http://schemas.microsoft.com/office/drawing/2014/main" id="{C64D9BFC-90B1-9852-A6BA-B73FBFE1B0BA}"/>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dirty="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8246192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with Photography">
    <p:bg>
      <p:bgPr>
        <a:solidFill>
          <a:schemeClr val="tx2"/>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59138779-980A-691D-B882-37CA14737880}"/>
              </a:ext>
              <a:ext uri="{C183D7F6-B498-43B3-948B-1728B52AA6E4}">
                <adec:decorative xmlns:adec="http://schemas.microsoft.com/office/drawing/2017/decorative" val="1"/>
              </a:ext>
            </a:extLst>
          </p:cNvPr>
          <p:cNvSpPr>
            <a:spLocks noGrp="1"/>
          </p:cNvSpPr>
          <p:nvPr>
            <p:ph type="pic" sz="quarter" idx="12"/>
          </p:nvPr>
        </p:nvSpPr>
        <p:spPr>
          <a:xfrm>
            <a:off x="0" y="17152"/>
            <a:ext cx="12188825" cy="6867144"/>
          </a:xfrm>
          <a:prstGeom prst="rect">
            <a:avLst/>
          </a:prstGeom>
        </p:spPr>
        <p:txBody>
          <a:bodyPr/>
          <a:lstStyle/>
          <a:p>
            <a:r>
              <a:rPr lang="en-US" dirty="0"/>
              <a:t>Click icon to add picture</a:t>
            </a:r>
          </a:p>
        </p:txBody>
      </p:sp>
      <p:pic>
        <p:nvPicPr>
          <p:cNvPr id="3" name="Graphic 2">
            <a:extLst>
              <a:ext uri="{FF2B5EF4-FFF2-40B4-BE49-F238E27FC236}">
                <a16:creationId xmlns:a16="http://schemas.microsoft.com/office/drawing/2014/main" id="{016FF508-EE9F-276D-0209-EED0F51886F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4901" y="345536"/>
            <a:ext cx="1700674" cy="483678"/>
          </a:xfrm>
          <a:prstGeom prst="rect">
            <a:avLst/>
          </a:prstGeom>
        </p:spPr>
      </p:pic>
      <p:sp>
        <p:nvSpPr>
          <p:cNvPr id="2" name="Title 47">
            <a:extLst>
              <a:ext uri="{FF2B5EF4-FFF2-40B4-BE49-F238E27FC236}">
                <a16:creationId xmlns:a16="http://schemas.microsoft.com/office/drawing/2014/main" id="{7987F6BE-85E5-A224-FEBB-6981BF4812A7}"/>
              </a:ext>
            </a:extLst>
          </p:cNvPr>
          <p:cNvSpPr>
            <a:spLocks noGrp="1"/>
          </p:cNvSpPr>
          <p:nvPr>
            <p:ph type="title"/>
          </p:nvPr>
        </p:nvSpPr>
        <p:spPr>
          <a:xfrm>
            <a:off x="548640" y="829214"/>
            <a:ext cx="8273098" cy="4007964"/>
          </a:xfrm>
          <a:prstGeom prst="rect">
            <a:avLst/>
          </a:prstGeom>
        </p:spPr>
        <p:txBody>
          <a:bodyPr lIns="0" tIns="0" rIns="0" bIns="0" anchor="b">
            <a:noAutofit/>
          </a:bodyPr>
          <a:lstStyle>
            <a:lvl1pPr>
              <a:lnSpc>
                <a:spcPct val="85000"/>
              </a:lnSpc>
              <a:defRPr kumimoji="0" lang="en-US" sz="7200" b="1" i="0" u="none" strike="noStrike" kern="1200" cap="none" spc="0" normalizeH="0" baseline="0" dirty="0">
                <a:ln>
                  <a:noFill/>
                </a:ln>
                <a:solidFill>
                  <a:schemeClr val="bg1"/>
                </a:solidFill>
                <a:effectLst/>
                <a:uLnTx/>
                <a:uFillTx/>
                <a:latin typeface="ServiceNow Sans Display Bold" panose="020B0504040101010104" pitchFamily="34" charset="77"/>
                <a:ea typeface="+mj-ea"/>
                <a:cs typeface="ServiceNow Sans Display Bold" panose="020B0504040101010104" pitchFamily="34" charset="77"/>
              </a:defRPr>
            </a:lvl1pPr>
          </a:lstStyle>
          <a:p>
            <a:endParaRPr lang="en-US"/>
          </a:p>
        </p:txBody>
      </p:sp>
    </p:spTree>
    <p:extLst>
      <p:ext uri="{BB962C8B-B14F-4D97-AF65-F5344CB8AC3E}">
        <p14:creationId xmlns:p14="http://schemas.microsoft.com/office/powerpoint/2010/main" val="7929948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Elevator">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EED094-F46D-5480-3E38-1AAE2A02A09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srcRect/>
          <a:stretch/>
        </p:blipFill>
        <p:spPr>
          <a:xfrm>
            <a:off x="1460" y="0"/>
            <a:ext cx="12185903" cy="6867144"/>
          </a:xfrm>
          <a:prstGeom prst="rect">
            <a:avLst/>
          </a:prstGeom>
        </p:spPr>
      </p:pic>
      <p:sp>
        <p:nvSpPr>
          <p:cNvPr id="8" name="Title 47">
            <a:extLst>
              <a:ext uri="{FF2B5EF4-FFF2-40B4-BE49-F238E27FC236}">
                <a16:creationId xmlns:a16="http://schemas.microsoft.com/office/drawing/2014/main" id="{3EC7AAD7-ECFB-5F41-CFDF-EB4EF53C0C7B}"/>
              </a:ext>
            </a:extLst>
          </p:cNvPr>
          <p:cNvSpPr>
            <a:spLocks noGrp="1"/>
          </p:cNvSpPr>
          <p:nvPr>
            <p:ph type="title"/>
          </p:nvPr>
        </p:nvSpPr>
        <p:spPr>
          <a:xfrm>
            <a:off x="548640" y="829214"/>
            <a:ext cx="8273098" cy="4008752"/>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pic>
        <p:nvPicPr>
          <p:cNvPr id="2" name="Picture 15">
            <a:extLst>
              <a:ext uri="{FF2B5EF4-FFF2-40B4-BE49-F238E27FC236}">
                <a16:creationId xmlns:a16="http://schemas.microsoft.com/office/drawing/2014/main" id="{DB2C2ABB-CE79-96BA-025B-8DE44D6771E7}"/>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14703" y="342901"/>
            <a:ext cx="1683544" cy="481012"/>
          </a:xfrm>
          <a:prstGeom prst="rect">
            <a:avLst/>
          </a:prstGeom>
        </p:spPr>
      </p:pic>
    </p:spTree>
    <p:extLst>
      <p:ext uri="{BB962C8B-B14F-4D97-AF65-F5344CB8AC3E}">
        <p14:creationId xmlns:p14="http://schemas.microsoft.com/office/powerpoint/2010/main" val="8376189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ogo Slide">
    <p:bg>
      <p:bgPr>
        <a:solidFill>
          <a:schemeClr val="bg2"/>
        </a:solidFill>
        <a:effectLst/>
      </p:bgPr>
    </p:bg>
    <p:spTree>
      <p:nvGrpSpPr>
        <p:cNvPr id="1" name=""/>
        <p:cNvGrpSpPr/>
        <p:nvPr/>
      </p:nvGrpSpPr>
      <p:grpSpPr>
        <a:xfrm>
          <a:off x="0" y="0"/>
          <a:ext cx="0" cy="0"/>
          <a:chOff x="0" y="0"/>
          <a:chExt cx="0" cy="0"/>
        </a:xfrm>
      </p:grpSpPr>
      <p:pic>
        <p:nvPicPr>
          <p:cNvPr id="3" name="Picture 2" descr="A green and blue gradient&#10;&#10;AI-generated content may be incorrect.">
            <a:extLst>
              <a:ext uri="{FF2B5EF4-FFF2-40B4-BE49-F238E27FC236}">
                <a16:creationId xmlns:a16="http://schemas.microsoft.com/office/drawing/2014/main" id="{6E5480FB-ED6B-9604-24EF-939E271C163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5" name="Graphic 4">
            <a:extLst>
              <a:ext uri="{FF2B5EF4-FFF2-40B4-BE49-F238E27FC236}">
                <a16:creationId xmlns:a16="http://schemas.microsoft.com/office/drawing/2014/main" id="{98C58ED4-941C-AA32-7CA8-D5B50F247A1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46497" y="2490178"/>
            <a:ext cx="6496620" cy="1874520"/>
          </a:xfrm>
          <a:prstGeom prst="rect">
            <a:avLst/>
          </a:prstGeom>
        </p:spPr>
      </p:pic>
    </p:spTree>
    <p:extLst>
      <p:ext uri="{BB962C8B-B14F-4D97-AF65-F5344CB8AC3E}">
        <p14:creationId xmlns:p14="http://schemas.microsoft.com/office/powerpoint/2010/main" val="7962592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4673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861DE2-0F90-CC33-6D94-011E75F404A4}"/>
              </a:ext>
            </a:extLst>
          </p:cNvPr>
          <p:cNvSpPr>
            <a:spLocks noGrp="1" noRot="1" noMove="1" noResize="1" noEditPoints="1" noAdjustHandles="1" noChangeArrowheads="1" noChangeShapeType="1"/>
          </p:cNvSpPr>
          <p:nvPr userDrawn="1"/>
        </p:nvSpPr>
        <p:spPr>
          <a:xfrm>
            <a:off x="0" y="1"/>
            <a:ext cx="12188825" cy="6858000"/>
          </a:xfrm>
          <a:prstGeom prst="rect">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Do not use this layout. </a:t>
            </a:r>
            <a:br>
              <a:rPr lang="en-US" sz="3600" dirty="0">
                <a:solidFill>
                  <a:schemeClr val="tx1"/>
                </a:solidFill>
              </a:rPr>
            </a:br>
            <a:r>
              <a:rPr lang="en-US" sz="3600" dirty="0">
                <a:solidFill>
                  <a:schemeClr val="tx1"/>
                </a:solidFill>
              </a:rPr>
              <a:t>For visual reference only.</a:t>
            </a:r>
          </a:p>
        </p:txBody>
      </p:sp>
    </p:spTree>
    <p:extLst>
      <p:ext uri="{BB962C8B-B14F-4D97-AF65-F5344CB8AC3E}">
        <p14:creationId xmlns:p14="http://schemas.microsoft.com/office/powerpoint/2010/main" val="35868784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F386-598B-964E-ABB5-F96918DE8792}"/>
              </a:ext>
            </a:extLst>
          </p:cNvPr>
          <p:cNvSpPr>
            <a:spLocks noGrp="1"/>
          </p:cNvSpPr>
          <p:nvPr>
            <p:ph type="title"/>
          </p:nvPr>
        </p:nvSpPr>
        <p:spPr>
          <a:xfrm>
            <a:off x="449251" y="364717"/>
            <a:ext cx="11188711" cy="11958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19E1F70F-9DF1-C846-84F8-0C243B6FBA5B}"/>
              </a:ext>
            </a:extLst>
          </p:cNvPr>
          <p:cNvSpPr>
            <a:spLocks noGrp="1"/>
          </p:cNvSpPr>
          <p:nvPr>
            <p:ph idx="1"/>
          </p:nvPr>
        </p:nvSpPr>
        <p:spPr>
          <a:xfrm>
            <a:off x="448055" y="1106424"/>
            <a:ext cx="11188711" cy="4504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7392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2_Do not u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FCCD65-874E-F914-2147-A87D814EEE9C}"/>
              </a:ext>
            </a:extLst>
          </p:cNvPr>
          <p:cNvSpPr>
            <a:spLocks noGrp="1" noRot="1" noMove="1" noResize="1" noEditPoints="1" noAdjustHandles="1" noChangeArrowheads="1" noChangeShapeType="1"/>
          </p:cNvSpPr>
          <p:nvPr/>
        </p:nvSpPr>
        <p:spPr>
          <a:xfrm>
            <a:off x="1" y="1"/>
            <a:ext cx="12188825" cy="6858000"/>
          </a:xfrm>
          <a:prstGeom prst="rect">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solidFill>
                <a:schemeClr val="tx1"/>
              </a:solidFill>
            </a:endParaRPr>
          </a:p>
        </p:txBody>
      </p:sp>
      <p:pic>
        <p:nvPicPr>
          <p:cNvPr id="4" name="Picture 3">
            <a:extLst>
              <a:ext uri="{FF2B5EF4-FFF2-40B4-BE49-F238E27FC236}">
                <a16:creationId xmlns:a16="http://schemas.microsoft.com/office/drawing/2014/main" id="{C7995868-19C9-A0BA-314F-3C09B803557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406424" y="6362756"/>
            <a:ext cx="1349470" cy="280168"/>
          </a:xfrm>
          <a:prstGeom prst="rect">
            <a:avLst/>
          </a:prstGeom>
        </p:spPr>
      </p:pic>
      <p:pic>
        <p:nvPicPr>
          <p:cNvPr id="10" name="Picture 9">
            <a:extLst>
              <a:ext uri="{FF2B5EF4-FFF2-40B4-BE49-F238E27FC236}">
                <a16:creationId xmlns:a16="http://schemas.microsoft.com/office/drawing/2014/main" id="{9C279D83-B44C-5DED-90B0-E7EA6CFC68D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469232" y="6362757"/>
            <a:ext cx="980589" cy="271915"/>
          </a:xfrm>
          <a:prstGeom prst="rect">
            <a:avLst/>
          </a:prstGeom>
        </p:spPr>
      </p:pic>
      <p:sp>
        <p:nvSpPr>
          <p:cNvPr id="2" name="Title 1">
            <a:extLst>
              <a:ext uri="{FF2B5EF4-FFF2-40B4-BE49-F238E27FC236}">
                <a16:creationId xmlns:a16="http://schemas.microsoft.com/office/drawing/2014/main" id="{F83486E3-43A1-AB21-E71E-5CEFC823E423}"/>
              </a:ext>
            </a:extLst>
          </p:cNvPr>
          <p:cNvSpPr>
            <a:spLocks noGrp="1"/>
          </p:cNvSpPr>
          <p:nvPr>
            <p:ph type="title"/>
          </p:nvPr>
        </p:nvSpPr>
        <p:spPr>
          <a:xfrm>
            <a:off x="548640" y="530352"/>
            <a:ext cx="11082973" cy="594360"/>
          </a:xfrm>
          <a:prstGeom prst="rect">
            <a:avLst/>
          </a:prstGeom>
        </p:spPr>
        <p:txBody>
          <a:bodyPr/>
          <a:lstStyle>
            <a:lvl1pPr>
              <a:defRPr>
                <a:solidFill>
                  <a:schemeClr val="tx1"/>
                </a:solidFill>
              </a:defRPr>
            </a:lvl1pPr>
          </a:lstStyle>
          <a:p>
            <a:r>
              <a:rPr lang="en-GB"/>
              <a:t>Click to edit Master title style</a:t>
            </a:r>
            <a:endParaRPr lang="en-US"/>
          </a:p>
        </p:txBody>
      </p:sp>
      <p:sp>
        <p:nvSpPr>
          <p:cNvPr id="5" name="Subtitle 2">
            <a:extLst>
              <a:ext uri="{FF2B5EF4-FFF2-40B4-BE49-F238E27FC236}">
                <a16:creationId xmlns:a16="http://schemas.microsoft.com/office/drawing/2014/main" id="{8EBF2BD4-6D4A-123B-B80F-30EE5F987EF9}"/>
              </a:ext>
            </a:extLst>
          </p:cNvPr>
          <p:cNvSpPr>
            <a:spLocks noGrp="1"/>
          </p:cNvSpPr>
          <p:nvPr>
            <p:ph type="subTitle" idx="13"/>
          </p:nvPr>
        </p:nvSpPr>
        <p:spPr>
          <a:xfrm>
            <a:off x="548640" y="1097282"/>
            <a:ext cx="11088688" cy="696849"/>
          </a:xfrm>
          <a:prstGeom prst="rect">
            <a:avLst/>
          </a:prstGeom>
        </p:spPr>
        <p:txBody>
          <a:bodyPr/>
          <a:lstStyle>
            <a:lvl1pPr marL="0" indent="0" algn="l">
              <a:lnSpc>
                <a:spcPct val="90000"/>
              </a:lnSpc>
              <a:buNone/>
              <a:defRPr sz="1999">
                <a:solidFill>
                  <a:schemeClr val="tx1"/>
                </a:solidFill>
                <a:latin typeface="ServiceNow Sans" panose="020B05040401010101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GB"/>
              <a:t>Click to edit Master subtitle style</a:t>
            </a:r>
            <a:endParaRPr lang="en-US"/>
          </a:p>
        </p:txBody>
      </p:sp>
      <p:sp>
        <p:nvSpPr>
          <p:cNvPr id="6" name="Text Placeholder 8">
            <a:extLst>
              <a:ext uri="{FF2B5EF4-FFF2-40B4-BE49-F238E27FC236}">
                <a16:creationId xmlns:a16="http://schemas.microsoft.com/office/drawing/2014/main" id="{F1BC9A2C-E7C1-0109-B628-1600A95314E6}"/>
              </a:ext>
            </a:extLst>
          </p:cNvPr>
          <p:cNvSpPr>
            <a:spLocks noGrp="1"/>
          </p:cNvSpPr>
          <p:nvPr>
            <p:ph type="body" sz="quarter" idx="16"/>
          </p:nvPr>
        </p:nvSpPr>
        <p:spPr>
          <a:xfrm>
            <a:off x="544830" y="1955800"/>
            <a:ext cx="11088688" cy="427024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5">
            <a:extLst>
              <a:ext uri="{FF2B5EF4-FFF2-40B4-BE49-F238E27FC236}">
                <a16:creationId xmlns:a16="http://schemas.microsoft.com/office/drawing/2014/main" id="{205CCA7B-8F68-006E-99A2-AFAA46F64E60}"/>
              </a:ext>
            </a:extLst>
          </p:cNvPr>
          <p:cNvSpPr txBox="1">
            <a:spLocks/>
          </p:cNvSpPr>
          <p:nvPr userDrawn="1"/>
        </p:nvSpPr>
        <p:spPr>
          <a:xfrm>
            <a:off x="11057991"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tx1"/>
                </a:solidFill>
                <a:ea typeface="+mn-ea"/>
                <a:cs typeface="+mn-cs"/>
              </a:rPr>
              <a:pPr algn="r"/>
              <a:t>‹#›</a:t>
            </a:fld>
            <a:endParaRPr lang="en-US" sz="800" b="0" kern="1200" dirty="0">
              <a:solidFill>
                <a:schemeClr val="tx1"/>
              </a:solidFill>
              <a:ea typeface="+mn-ea"/>
              <a:cs typeface="+mn-cs"/>
            </a:endParaRPr>
          </a:p>
        </p:txBody>
      </p:sp>
    </p:spTree>
    <p:extLst>
      <p:ext uri="{BB962C8B-B14F-4D97-AF65-F5344CB8AC3E}">
        <p14:creationId xmlns:p14="http://schemas.microsoft.com/office/powerpoint/2010/main" val="1631301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Indigo">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background&#10;&#10;AI-generated content may be incorrect.">
            <a:extLst>
              <a:ext uri="{FF2B5EF4-FFF2-40B4-BE49-F238E27FC236}">
                <a16:creationId xmlns:a16="http://schemas.microsoft.com/office/drawing/2014/main" id="{A433C7BF-77FA-11E0-388C-9604D8530F4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2" name="Graphic 11">
            <a:extLst>
              <a:ext uri="{FF2B5EF4-FFF2-40B4-BE49-F238E27FC236}">
                <a16:creationId xmlns:a16="http://schemas.microsoft.com/office/drawing/2014/main" id="{01902FD6-097B-71EB-E01C-6758DBD1DF5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7" name="Title 4">
            <a:extLst>
              <a:ext uri="{FF2B5EF4-FFF2-40B4-BE49-F238E27FC236}">
                <a16:creationId xmlns:a16="http://schemas.microsoft.com/office/drawing/2014/main" id="{962F1E25-5FDF-9409-BF54-740F49D5A5CD}"/>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8" name="Text Placeholder 49">
            <a:extLst>
              <a:ext uri="{FF2B5EF4-FFF2-40B4-BE49-F238E27FC236}">
                <a16:creationId xmlns:a16="http://schemas.microsoft.com/office/drawing/2014/main" id="{CDEC03F9-1328-3A1C-5391-FDDF5140C68E}"/>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9" name="Text Placeholder 51">
            <a:extLst>
              <a:ext uri="{FF2B5EF4-FFF2-40B4-BE49-F238E27FC236}">
                <a16:creationId xmlns:a16="http://schemas.microsoft.com/office/drawing/2014/main" id="{5D4F5DDD-72C3-AEFB-7664-ABF7B0B8118C}"/>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Tree>
    <p:extLst>
      <p:ext uri="{BB962C8B-B14F-4D97-AF65-F5344CB8AC3E}">
        <p14:creationId xmlns:p14="http://schemas.microsoft.com/office/powerpoint/2010/main" val="31568151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Indigo_Confidential">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background&#10;&#10;AI-generated content may be incorrect.">
            <a:extLst>
              <a:ext uri="{FF2B5EF4-FFF2-40B4-BE49-F238E27FC236}">
                <a16:creationId xmlns:a16="http://schemas.microsoft.com/office/drawing/2014/main" id="{A433C7BF-77FA-11E0-388C-9604D8530F4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2" name="Graphic 11">
            <a:extLst>
              <a:ext uri="{FF2B5EF4-FFF2-40B4-BE49-F238E27FC236}">
                <a16:creationId xmlns:a16="http://schemas.microsoft.com/office/drawing/2014/main" id="{01902FD6-097B-71EB-E01C-6758DBD1DF5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7" name="Title 4">
            <a:extLst>
              <a:ext uri="{FF2B5EF4-FFF2-40B4-BE49-F238E27FC236}">
                <a16:creationId xmlns:a16="http://schemas.microsoft.com/office/drawing/2014/main" id="{962F1E25-5FDF-9409-BF54-740F49D5A5CD}"/>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8" name="Text Placeholder 49">
            <a:extLst>
              <a:ext uri="{FF2B5EF4-FFF2-40B4-BE49-F238E27FC236}">
                <a16:creationId xmlns:a16="http://schemas.microsoft.com/office/drawing/2014/main" id="{CDEC03F9-1328-3A1C-5391-FDDF5140C68E}"/>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sp>
        <p:nvSpPr>
          <p:cNvPr id="9" name="Text Placeholder 51">
            <a:extLst>
              <a:ext uri="{FF2B5EF4-FFF2-40B4-BE49-F238E27FC236}">
                <a16:creationId xmlns:a16="http://schemas.microsoft.com/office/drawing/2014/main" id="{5D4F5DDD-72C3-AEFB-7664-ABF7B0B8118C}"/>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a:t>
            </a:r>
          </a:p>
        </p:txBody>
      </p:sp>
      <p:sp>
        <p:nvSpPr>
          <p:cNvPr id="5" name="TextBox 4">
            <a:extLst>
              <a:ext uri="{FF2B5EF4-FFF2-40B4-BE49-F238E27FC236}">
                <a16:creationId xmlns:a16="http://schemas.microsoft.com/office/drawing/2014/main" id="{6D400A2B-85D6-A45F-8D94-131731421D56}"/>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dirty="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119273864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with Multiple Speakers">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139184"/>
            <a:ext cx="2632711"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133960"/>
            <a:ext cx="263271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8" name="Text Placeholder 49">
            <a:extLst>
              <a:ext uri="{FF2B5EF4-FFF2-40B4-BE49-F238E27FC236}">
                <a16:creationId xmlns:a16="http://schemas.microsoft.com/office/drawing/2014/main" id="{0302B359-8787-999D-71BE-1911CECC600B}"/>
              </a:ext>
            </a:extLst>
          </p:cNvPr>
          <p:cNvSpPr>
            <a:spLocks noGrp="1"/>
          </p:cNvSpPr>
          <p:nvPr>
            <p:ph type="body" sz="quarter" idx="12"/>
          </p:nvPr>
        </p:nvSpPr>
        <p:spPr>
          <a:xfrm>
            <a:off x="3367089" y="4139184"/>
            <a:ext cx="2641600"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9" name="Text Placeholder 51">
            <a:extLst>
              <a:ext uri="{FF2B5EF4-FFF2-40B4-BE49-F238E27FC236}">
                <a16:creationId xmlns:a16="http://schemas.microsoft.com/office/drawing/2014/main" id="{F60D827C-8804-06EA-284F-7F621E9C7FB5}"/>
              </a:ext>
            </a:extLst>
          </p:cNvPr>
          <p:cNvSpPr>
            <a:spLocks noGrp="1"/>
          </p:cNvSpPr>
          <p:nvPr>
            <p:ph type="body" sz="quarter" idx="13"/>
          </p:nvPr>
        </p:nvSpPr>
        <p:spPr>
          <a:xfrm>
            <a:off x="3367089" y="5133960"/>
            <a:ext cx="2641600"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10" name="Text Placeholder 49">
            <a:extLst>
              <a:ext uri="{FF2B5EF4-FFF2-40B4-BE49-F238E27FC236}">
                <a16:creationId xmlns:a16="http://schemas.microsoft.com/office/drawing/2014/main" id="{93CCF4C6-4B3F-8BB2-4013-62E09129EBA8}"/>
              </a:ext>
            </a:extLst>
          </p:cNvPr>
          <p:cNvSpPr>
            <a:spLocks noGrp="1"/>
          </p:cNvSpPr>
          <p:nvPr>
            <p:ph type="body" sz="quarter" idx="14"/>
          </p:nvPr>
        </p:nvSpPr>
        <p:spPr>
          <a:xfrm>
            <a:off x="6188075" y="4139184"/>
            <a:ext cx="2633663"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11" name="Text Placeholder 51">
            <a:extLst>
              <a:ext uri="{FF2B5EF4-FFF2-40B4-BE49-F238E27FC236}">
                <a16:creationId xmlns:a16="http://schemas.microsoft.com/office/drawing/2014/main" id="{2E84B7BF-4314-0E4C-FCD2-1C8D9950292B}"/>
              </a:ext>
            </a:extLst>
          </p:cNvPr>
          <p:cNvSpPr>
            <a:spLocks noGrp="1"/>
          </p:cNvSpPr>
          <p:nvPr>
            <p:ph type="body" sz="quarter" idx="15"/>
          </p:nvPr>
        </p:nvSpPr>
        <p:spPr>
          <a:xfrm>
            <a:off x="6188075" y="5133960"/>
            <a:ext cx="2633663"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12" name="Text Placeholder 49">
            <a:extLst>
              <a:ext uri="{FF2B5EF4-FFF2-40B4-BE49-F238E27FC236}">
                <a16:creationId xmlns:a16="http://schemas.microsoft.com/office/drawing/2014/main" id="{786D7E5B-172E-6265-25E3-041252131BE7}"/>
              </a:ext>
            </a:extLst>
          </p:cNvPr>
          <p:cNvSpPr>
            <a:spLocks noGrp="1"/>
          </p:cNvSpPr>
          <p:nvPr>
            <p:ph type="body" sz="quarter" idx="16"/>
          </p:nvPr>
        </p:nvSpPr>
        <p:spPr>
          <a:xfrm>
            <a:off x="9002713" y="4139184"/>
            <a:ext cx="2633662"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13" name="Text Placeholder 51">
            <a:extLst>
              <a:ext uri="{FF2B5EF4-FFF2-40B4-BE49-F238E27FC236}">
                <a16:creationId xmlns:a16="http://schemas.microsoft.com/office/drawing/2014/main" id="{70DB0D3A-DDE2-7A91-1278-C460CF8E7C36}"/>
              </a:ext>
            </a:extLst>
          </p:cNvPr>
          <p:cNvSpPr>
            <a:spLocks noGrp="1"/>
          </p:cNvSpPr>
          <p:nvPr>
            <p:ph type="body" sz="quarter" idx="17"/>
          </p:nvPr>
        </p:nvSpPr>
        <p:spPr>
          <a:xfrm>
            <a:off x="9002576" y="5133960"/>
            <a:ext cx="2633799"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Tree>
    <p:extLst>
      <p:ext uri="{BB962C8B-B14F-4D97-AF65-F5344CB8AC3E}">
        <p14:creationId xmlns:p14="http://schemas.microsoft.com/office/powerpoint/2010/main" val="166815089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with Multiple Speakers_Confidential">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endParaRPr lang="en-US"/>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139184"/>
            <a:ext cx="2632711"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133960"/>
            <a:ext cx="263271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8" name="Text Placeholder 49">
            <a:extLst>
              <a:ext uri="{FF2B5EF4-FFF2-40B4-BE49-F238E27FC236}">
                <a16:creationId xmlns:a16="http://schemas.microsoft.com/office/drawing/2014/main" id="{0302B359-8787-999D-71BE-1911CECC600B}"/>
              </a:ext>
            </a:extLst>
          </p:cNvPr>
          <p:cNvSpPr>
            <a:spLocks noGrp="1"/>
          </p:cNvSpPr>
          <p:nvPr>
            <p:ph type="body" sz="quarter" idx="12"/>
          </p:nvPr>
        </p:nvSpPr>
        <p:spPr>
          <a:xfrm>
            <a:off x="3367089" y="4139184"/>
            <a:ext cx="2641600"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9" name="Text Placeholder 51">
            <a:extLst>
              <a:ext uri="{FF2B5EF4-FFF2-40B4-BE49-F238E27FC236}">
                <a16:creationId xmlns:a16="http://schemas.microsoft.com/office/drawing/2014/main" id="{F60D827C-8804-06EA-284F-7F621E9C7FB5}"/>
              </a:ext>
            </a:extLst>
          </p:cNvPr>
          <p:cNvSpPr>
            <a:spLocks noGrp="1"/>
          </p:cNvSpPr>
          <p:nvPr>
            <p:ph type="body" sz="quarter" idx="13"/>
          </p:nvPr>
        </p:nvSpPr>
        <p:spPr>
          <a:xfrm>
            <a:off x="3367089" y="5133960"/>
            <a:ext cx="2641600"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10" name="Text Placeholder 49">
            <a:extLst>
              <a:ext uri="{FF2B5EF4-FFF2-40B4-BE49-F238E27FC236}">
                <a16:creationId xmlns:a16="http://schemas.microsoft.com/office/drawing/2014/main" id="{93CCF4C6-4B3F-8BB2-4013-62E09129EBA8}"/>
              </a:ext>
            </a:extLst>
          </p:cNvPr>
          <p:cNvSpPr>
            <a:spLocks noGrp="1"/>
          </p:cNvSpPr>
          <p:nvPr>
            <p:ph type="body" sz="quarter" idx="14"/>
          </p:nvPr>
        </p:nvSpPr>
        <p:spPr>
          <a:xfrm>
            <a:off x="6188075" y="4139184"/>
            <a:ext cx="2633663"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11" name="Text Placeholder 51">
            <a:extLst>
              <a:ext uri="{FF2B5EF4-FFF2-40B4-BE49-F238E27FC236}">
                <a16:creationId xmlns:a16="http://schemas.microsoft.com/office/drawing/2014/main" id="{2E84B7BF-4314-0E4C-FCD2-1C8D9950292B}"/>
              </a:ext>
            </a:extLst>
          </p:cNvPr>
          <p:cNvSpPr>
            <a:spLocks noGrp="1"/>
          </p:cNvSpPr>
          <p:nvPr>
            <p:ph type="body" sz="quarter" idx="15"/>
          </p:nvPr>
        </p:nvSpPr>
        <p:spPr>
          <a:xfrm>
            <a:off x="6188075" y="5133960"/>
            <a:ext cx="2633663"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sp>
        <p:nvSpPr>
          <p:cNvPr id="12" name="Text Placeholder 49">
            <a:extLst>
              <a:ext uri="{FF2B5EF4-FFF2-40B4-BE49-F238E27FC236}">
                <a16:creationId xmlns:a16="http://schemas.microsoft.com/office/drawing/2014/main" id="{786D7E5B-172E-6265-25E3-041252131BE7}"/>
              </a:ext>
            </a:extLst>
          </p:cNvPr>
          <p:cNvSpPr>
            <a:spLocks noGrp="1"/>
          </p:cNvSpPr>
          <p:nvPr>
            <p:ph type="body" sz="quarter" idx="16"/>
          </p:nvPr>
        </p:nvSpPr>
        <p:spPr>
          <a:xfrm>
            <a:off x="9002713" y="4139184"/>
            <a:ext cx="2633662"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p:txBody>
      </p:sp>
      <p:sp>
        <p:nvSpPr>
          <p:cNvPr id="13" name="Text Placeholder 51">
            <a:extLst>
              <a:ext uri="{FF2B5EF4-FFF2-40B4-BE49-F238E27FC236}">
                <a16:creationId xmlns:a16="http://schemas.microsoft.com/office/drawing/2014/main" id="{70DB0D3A-DDE2-7A91-1278-C460CF8E7C36}"/>
              </a:ext>
            </a:extLst>
          </p:cNvPr>
          <p:cNvSpPr>
            <a:spLocks noGrp="1"/>
          </p:cNvSpPr>
          <p:nvPr>
            <p:ph type="body" sz="quarter" idx="17"/>
          </p:nvPr>
        </p:nvSpPr>
        <p:spPr>
          <a:xfrm>
            <a:off x="9002576" y="5133960"/>
            <a:ext cx="2633799"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endParaRPr lang="en-US"/>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a:t>
            </a:r>
            <a:fld id="{635C48E5-65A8-4141-AD86-F973A2936CF1}" type="datetimeyyyy">
              <a:rPr lang="en-US" sz="800" smtClean="0">
                <a:solidFill>
                  <a:srgbClr val="FFFFFF">
                    <a:alpha val="50000"/>
                  </a:srgbClr>
                </a:solidFill>
              </a:rPr>
              <a:pPr algn="l"/>
              <a:t>2025</a:t>
            </a:fld>
            <a:r>
              <a:rPr lang="en-US" sz="800" dirty="0">
                <a:solidFill>
                  <a:srgbClr val="FFFFFF">
                    <a:alpha val="50000"/>
                  </a:srgbClr>
                </a:solidFill>
              </a:rPr>
              <a:t> ServiceNow, Inc. All Rights Reserved.</a:t>
            </a:r>
          </a:p>
        </p:txBody>
      </p:sp>
      <p:sp>
        <p:nvSpPr>
          <p:cNvPr id="16" name="TextBox 15">
            <a:extLst>
              <a:ext uri="{FF2B5EF4-FFF2-40B4-BE49-F238E27FC236}">
                <a16:creationId xmlns:a16="http://schemas.microsoft.com/office/drawing/2014/main" id="{2B4EC76D-4477-5151-4B37-AB632AF359D4}"/>
              </a:ext>
            </a:extLst>
          </p:cNvPr>
          <p:cNvSpPr txBox="1"/>
          <p:nvPr userDrawn="1"/>
        </p:nvSpPr>
        <p:spPr>
          <a:xfrm>
            <a:off x="548641" y="6172167"/>
            <a:ext cx="2290669" cy="246221"/>
          </a:xfrm>
          <a:prstGeom prst="rect">
            <a:avLst/>
          </a:prstGeom>
          <a:noFill/>
        </p:spPr>
        <p:txBody>
          <a:bodyPr wrap="square" lIns="0" tIns="0" rIns="0" bIns="0" rtlCol="0">
            <a:spAutoFit/>
          </a:bodyPr>
          <a:lstStyle/>
          <a:p>
            <a:pPr algn="l"/>
            <a:r>
              <a:rPr lang="en-US" sz="1600" b="0" i="0" dirty="0">
                <a:solidFill>
                  <a:schemeClr val="bg1">
                    <a:alpha val="50104"/>
                  </a:schemeClr>
                </a:solidFill>
                <a:latin typeface="ServiceNow Sans Medium" panose="020B0504040101010104" pitchFamily="34" charset="77"/>
                <a:cs typeface="ServiceNow Sans Light" panose="020B0404040101010104" pitchFamily="34" charset="77"/>
              </a:rPr>
              <a:t>CONFIDENTIAL</a:t>
            </a:r>
          </a:p>
        </p:txBody>
      </p:sp>
    </p:spTree>
    <p:extLst>
      <p:ext uri="{BB962C8B-B14F-4D97-AF65-F5344CB8AC3E}">
        <p14:creationId xmlns:p14="http://schemas.microsoft.com/office/powerpoint/2010/main" val="42194408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9BDB30-A827-7C46-A7B6-E25C62B40224}"/>
              </a:ext>
            </a:extLst>
          </p:cNvPr>
          <p:cNvSpPr>
            <a:spLocks noGrp="1"/>
          </p:cNvSpPr>
          <p:nvPr>
            <p:ph type="title"/>
          </p:nvPr>
        </p:nvSpPr>
        <p:spPr>
          <a:xfrm>
            <a:off x="548640" y="530352"/>
            <a:ext cx="11089323" cy="753889"/>
          </a:xfrm>
          <a:prstGeom prst="rect">
            <a:avLst/>
          </a:prstGeom>
        </p:spPr>
        <p:txBody>
          <a:bodyPr vert="horz" lIns="0" tIns="0" rIns="0" bIns="0" rtlCol="0" anchor="t" anchorCtr="0">
            <a:noAutofit/>
          </a:bodyPr>
          <a:lstStyle/>
          <a:p>
            <a:pPr lvl="0"/>
            <a:endParaRPr lang="en-US"/>
          </a:p>
        </p:txBody>
      </p:sp>
      <p:sp>
        <p:nvSpPr>
          <p:cNvPr id="3" name="Text Placeholder 2">
            <a:extLst>
              <a:ext uri="{FF2B5EF4-FFF2-40B4-BE49-F238E27FC236}">
                <a16:creationId xmlns:a16="http://schemas.microsoft.com/office/drawing/2014/main" id="{D618F93C-99A7-3249-8F96-D441C75B6275}"/>
              </a:ext>
            </a:extLst>
          </p:cNvPr>
          <p:cNvSpPr>
            <a:spLocks noGrp="1"/>
          </p:cNvSpPr>
          <p:nvPr>
            <p:ph type="body" idx="1"/>
          </p:nvPr>
        </p:nvSpPr>
        <p:spPr>
          <a:xfrm>
            <a:off x="548640" y="1736920"/>
            <a:ext cx="11106785" cy="4292405"/>
          </a:xfrm>
          <a:prstGeom prst="rect">
            <a:avLst/>
          </a:prstGeom>
        </p:spPr>
        <p:txBody>
          <a:bodyPr vert="horz" lIns="0" tIns="0" rIns="0" bIns="0" rtlCol="0">
            <a:noAutofit/>
          </a:body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E2239EEE-D4C8-6194-8212-DDF251D0D164}"/>
              </a:ext>
            </a:extLst>
          </p:cNvPr>
          <p:cNvSpPr txBox="1">
            <a:spLocks/>
          </p:cNvSpPr>
          <p:nvPr userDrawn="1"/>
        </p:nvSpPr>
        <p:spPr>
          <a:xfrm>
            <a:off x="11060871" y="6413253"/>
            <a:ext cx="578536"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dirty="0">
              <a:solidFill>
                <a:schemeClr val="bg1"/>
              </a:solidFill>
              <a:ea typeface="+mn-ea"/>
              <a:cs typeface="+mn-cs"/>
            </a:endParaRPr>
          </a:p>
        </p:txBody>
      </p:sp>
      <p:pic>
        <p:nvPicPr>
          <p:cNvPr id="7" name="Picture 15">
            <a:extLst>
              <a:ext uri="{FF2B5EF4-FFF2-40B4-BE49-F238E27FC236}">
                <a16:creationId xmlns:a16="http://schemas.microsoft.com/office/drawing/2014/main" id="{422F1018-F759-E25C-7CC3-4BA241569273}"/>
              </a:ext>
              <a:ext uri="{C183D7F6-B498-43B3-948B-1728B52AA6E4}">
                <adec:decorative xmlns:adec="http://schemas.microsoft.com/office/drawing/2017/decorative" val="1"/>
              </a:ext>
            </a:extLst>
          </p:cNvPr>
          <p:cNvPicPr>
            <a:picLocks noChangeAspect="1"/>
          </p:cNvPicPr>
          <p:nvPr userDrawn="1"/>
        </p:nvPicPr>
        <p:blipFill>
          <a:blip r:embed="rId58" cstate="screen">
            <a:extLst>
              <a:ext uri="{28A0092B-C50C-407E-A947-70E740481C1C}">
                <a14:useLocalDpi xmlns:a14="http://schemas.microsoft.com/office/drawing/2010/main"/>
              </a:ext>
              <a:ext uri="{96DAC541-7B7A-43D3-8B79-37D633B846F1}">
                <asvg:svgBlip xmlns:asvg="http://schemas.microsoft.com/office/drawing/2016/SVG/main" r:embed="rId59"/>
              </a:ext>
            </a:extLst>
          </a:blip>
          <a:srcRect/>
          <a:stretch/>
        </p:blipFill>
        <p:spPr>
          <a:xfrm>
            <a:off x="478498" y="6355437"/>
            <a:ext cx="980844" cy="280168"/>
          </a:xfrm>
          <a:prstGeom prst="rect">
            <a:avLst/>
          </a:prstGeom>
        </p:spPr>
      </p:pic>
      <p:pic>
        <p:nvPicPr>
          <p:cNvPr id="8" name="Picture 15">
            <a:extLst>
              <a:ext uri="{FF2B5EF4-FFF2-40B4-BE49-F238E27FC236}">
                <a16:creationId xmlns:a16="http://schemas.microsoft.com/office/drawing/2014/main" id="{1CB1F4F4-8751-F39A-D498-D585D365986F}"/>
              </a:ext>
              <a:ext uri="{C183D7F6-B498-43B3-948B-1728B52AA6E4}">
                <adec:decorative xmlns:adec="http://schemas.microsoft.com/office/drawing/2017/decorative" val="1"/>
              </a:ext>
            </a:extLst>
          </p:cNvPr>
          <p:cNvPicPr>
            <a:picLocks noChangeAspect="1"/>
          </p:cNvPicPr>
          <p:nvPr userDrawn="1"/>
        </p:nvPicPr>
        <p:blipFill>
          <a:blip r:embed="rId58" cstate="screen">
            <a:extLst>
              <a:ext uri="{28A0092B-C50C-407E-A947-70E740481C1C}">
                <a14:useLocalDpi xmlns:a14="http://schemas.microsoft.com/office/drawing/2010/main"/>
              </a:ext>
              <a:ext uri="{96DAC541-7B7A-43D3-8B79-37D633B846F1}">
                <asvg:svgBlip xmlns:asvg="http://schemas.microsoft.com/office/drawing/2016/SVG/main" r:embed="rId59"/>
              </a:ext>
            </a:extLst>
          </a:blip>
          <a:srcRect/>
          <a:stretch/>
        </p:blipFill>
        <p:spPr>
          <a:xfrm>
            <a:off x="478498" y="6355437"/>
            <a:ext cx="980844" cy="280168"/>
          </a:xfrm>
          <a:prstGeom prst="rect">
            <a:avLst/>
          </a:prstGeom>
        </p:spPr>
      </p:pic>
      <p:pic>
        <p:nvPicPr>
          <p:cNvPr id="9" name="Picture 8">
            <a:extLst>
              <a:ext uri="{FF2B5EF4-FFF2-40B4-BE49-F238E27FC236}">
                <a16:creationId xmlns:a16="http://schemas.microsoft.com/office/drawing/2014/main" id="{5EA1EB34-8770-DD24-C730-67FF2F7F3E73}"/>
              </a:ext>
            </a:extLst>
          </p:cNvPr>
          <p:cNvPicPr>
            <a:picLocks noChangeAspect="1"/>
          </p:cNvPicPr>
          <p:nvPr userDrawn="1"/>
        </p:nvPicPr>
        <p:blipFill>
          <a:blip r:embed="rId60" cstate="print">
            <a:extLst>
              <a:ext uri="{28A0092B-C50C-407E-A947-70E740481C1C}">
                <a14:useLocalDpi xmlns:a14="http://schemas.microsoft.com/office/drawing/2010/main"/>
              </a:ext>
            </a:extLst>
          </a:blip>
          <a:srcRect/>
          <a:stretch>
            <a:fillRect/>
          </a:stretch>
        </p:blipFill>
        <p:spPr>
          <a:xfrm>
            <a:off x="1406790" y="6362756"/>
            <a:ext cx="1349822" cy="280168"/>
          </a:xfrm>
          <a:prstGeom prst="rect">
            <a:avLst/>
          </a:prstGeom>
        </p:spPr>
      </p:pic>
    </p:spTree>
    <p:extLst>
      <p:ext uri="{BB962C8B-B14F-4D97-AF65-F5344CB8AC3E}">
        <p14:creationId xmlns:p14="http://schemas.microsoft.com/office/powerpoint/2010/main" val="292190733"/>
      </p:ext>
    </p:extLst>
  </p:cSld>
  <p:clrMap bg1="lt1" tx1="dk1" bg2="lt2" tx2="dk2" accent1="accent1" accent2="accent2" accent3="accent3" accent4="accent4" accent5="accent5" accent6="accent6" hlink="hlink" folHlink="folHlink"/>
  <p:sldLayoutIdLst>
    <p:sldLayoutId id="2147485115" r:id="rId1"/>
    <p:sldLayoutId id="2147485246" r:id="rId2"/>
    <p:sldLayoutId id="2147485239" r:id="rId3"/>
    <p:sldLayoutId id="2147485192" r:id="rId4"/>
    <p:sldLayoutId id="2147485240" r:id="rId5"/>
    <p:sldLayoutId id="2147485194" r:id="rId6"/>
    <p:sldLayoutId id="2147485241" r:id="rId7"/>
    <p:sldLayoutId id="2147485117" r:id="rId8"/>
    <p:sldLayoutId id="2147485242" r:id="rId9"/>
    <p:sldLayoutId id="2147485238" r:id="rId10"/>
    <p:sldLayoutId id="2147485243" r:id="rId11"/>
    <p:sldLayoutId id="2147485128" r:id="rId12"/>
    <p:sldLayoutId id="2147485129" r:id="rId13"/>
    <p:sldLayoutId id="2147485159" r:id="rId14"/>
    <p:sldLayoutId id="2147485130" r:id="rId15"/>
    <p:sldLayoutId id="2147485160" r:id="rId16"/>
    <p:sldLayoutId id="2147485235" r:id="rId17"/>
    <p:sldLayoutId id="2147485236" r:id="rId18"/>
    <p:sldLayoutId id="2147485237" r:id="rId19"/>
    <p:sldLayoutId id="2147485119" r:id="rId20"/>
    <p:sldLayoutId id="2147485120" r:id="rId21"/>
    <p:sldLayoutId id="2147485121" r:id="rId22"/>
    <p:sldLayoutId id="2147485122" r:id="rId23"/>
    <p:sldLayoutId id="2147485123" r:id="rId24"/>
    <p:sldLayoutId id="2147485202" r:id="rId25"/>
    <p:sldLayoutId id="2147485124" r:id="rId26"/>
    <p:sldLayoutId id="2147485125" r:id="rId27"/>
    <p:sldLayoutId id="2147485203" r:id="rId28"/>
    <p:sldLayoutId id="2147485126" r:id="rId29"/>
    <p:sldLayoutId id="2147485139" r:id="rId30"/>
    <p:sldLayoutId id="2147485138" r:id="rId31"/>
    <p:sldLayoutId id="2147485134" r:id="rId32"/>
    <p:sldLayoutId id="2147485135" r:id="rId33"/>
    <p:sldLayoutId id="2147485136" r:id="rId34"/>
    <p:sldLayoutId id="2147485137" r:id="rId35"/>
    <p:sldLayoutId id="2147485173" r:id="rId36"/>
    <p:sldLayoutId id="2147485177" r:id="rId37"/>
    <p:sldLayoutId id="2147485141" r:id="rId38"/>
    <p:sldLayoutId id="2147485142" r:id="rId39"/>
    <p:sldLayoutId id="2147485143" r:id="rId40"/>
    <p:sldLayoutId id="2147485147" r:id="rId41"/>
    <p:sldLayoutId id="2147485145" r:id="rId42"/>
    <p:sldLayoutId id="2147485146" r:id="rId43"/>
    <p:sldLayoutId id="2147485148" r:id="rId44"/>
    <p:sldLayoutId id="2147485149" r:id="rId45"/>
    <p:sldLayoutId id="2147485150" r:id="rId46"/>
    <p:sldLayoutId id="2147485151" r:id="rId47"/>
    <p:sldLayoutId id="2147485152" r:id="rId48"/>
    <p:sldLayoutId id="2147485153" r:id="rId49"/>
    <p:sldLayoutId id="2147485154" r:id="rId50"/>
    <p:sldLayoutId id="2147485199" r:id="rId51"/>
    <p:sldLayoutId id="2147485155" r:id="rId52"/>
    <p:sldLayoutId id="2147485156" r:id="rId53"/>
    <p:sldLayoutId id="2147485244" r:id="rId54"/>
    <p:sldLayoutId id="2147485245" r:id="rId55"/>
    <p:sldLayoutId id="2147485247" r:id="rId56"/>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ftr="0" dt="0"/>
  <p:txStyles>
    <p:titleStyle>
      <a:lvl1pPr marL="0" algn="l" defTabSz="914400" rtl="0" eaLnBrk="1" latinLnBrk="0" hangingPunct="1">
        <a:lnSpc>
          <a:spcPct val="85000"/>
        </a:lnSpc>
        <a:spcBef>
          <a:spcPct val="0"/>
        </a:spcBef>
        <a:buNone/>
        <a:tabLst>
          <a:tab pos="398463" algn="l"/>
        </a:tabLst>
        <a:defRPr lang="en-US" sz="4000" b="1" i="0" kern="1200" spc="0" baseline="0" dirty="0">
          <a:solidFill>
            <a:schemeClr val="bg1"/>
          </a:solidFill>
          <a:latin typeface="+mj-lt"/>
          <a:ea typeface="+mj-ea"/>
          <a:cs typeface="ServiceNow Sans Display Bold" panose="020B0504040101010104" pitchFamily="34" charset="77"/>
        </a:defRPr>
      </a:lvl1pPr>
    </p:titleStyle>
    <p:bodyStyle>
      <a:lvl1pPr marL="0" indent="0" algn="l" defTabSz="914400" rtl="0" eaLnBrk="1" latinLnBrk="0" hangingPunct="1">
        <a:lnSpc>
          <a:spcPct val="100000"/>
        </a:lnSpc>
        <a:spcBef>
          <a:spcPts val="0"/>
        </a:spcBef>
        <a:spcAft>
          <a:spcPts val="1000"/>
        </a:spcAft>
        <a:buFont typeface="ServiceNow Sans Light" panose="020B0404040101010104" pitchFamily="34" charset="0"/>
        <a:buChar char="​"/>
        <a:defRPr lang="en-US" sz="1800" b="0" i="0" kern="1200" spc="0" baseline="0" dirty="0">
          <a:solidFill>
            <a:schemeClr val="bg1"/>
          </a:solidFill>
          <a:latin typeface="+mn-lt"/>
          <a:ea typeface="+mn-ea"/>
          <a:cs typeface="ServiceNow Sans Light" panose="020B0404040101010104" pitchFamily="34" charset="77"/>
        </a:defRPr>
      </a:lvl1pPr>
      <a:lvl2pPr marL="18288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600" b="0" i="0" kern="1200" spc="0" baseline="0">
          <a:solidFill>
            <a:schemeClr val="bg1"/>
          </a:solidFill>
          <a:latin typeface="+mn-lt"/>
          <a:ea typeface="+mn-ea"/>
          <a:cs typeface="ServiceNow Sans Light" panose="020B0404040101010104" pitchFamily="34" charset="77"/>
        </a:defRPr>
      </a:lvl2pPr>
      <a:lvl3pPr marL="36576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400" b="0" i="0" kern="1200" spc="0" baseline="0" dirty="0">
          <a:solidFill>
            <a:schemeClr val="bg1"/>
          </a:solidFill>
          <a:latin typeface="+mn-lt"/>
          <a:ea typeface="+mn-ea"/>
          <a:cs typeface="ServiceNow Sans Medium" panose="020B0704040101010104" pitchFamily="34" charset="0"/>
        </a:defRPr>
      </a:lvl4pPr>
      <a:lvl5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Medium" panose="020B0704040101010104" pitchFamily="34" charset="0"/>
        </a:defRPr>
      </a:lvl5pPr>
      <a:lvl6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a:solidFill>
            <a:schemeClr val="bg1"/>
          </a:solidFill>
          <a:latin typeface="+mn-lt"/>
          <a:ea typeface="+mn-ea"/>
          <a:cs typeface="ServiceNow Sans Display Bold" panose="020B0504040101010104" pitchFamily="34" charset="77"/>
        </a:defRPr>
      </a:lvl6pPr>
      <a:lvl7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7pPr>
      <a:lvl8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8pPr>
      <a:lvl9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sz="14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6" userDrawn="1">
          <p15:clr>
            <a:srgbClr val="F26B43"/>
          </p15:clr>
        </p15:guide>
        <p15:guide id="2" pos="7330" userDrawn="1">
          <p15:clr>
            <a:srgbClr val="F26B43"/>
          </p15:clr>
        </p15:guide>
        <p15:guide id="3" pos="815" userDrawn="1">
          <p15:clr>
            <a:srgbClr val="F26B43"/>
          </p15:clr>
        </p15:guide>
        <p15:guide id="5" pos="935" userDrawn="1">
          <p15:clr>
            <a:srgbClr val="F26B43"/>
          </p15:clr>
        </p15:guide>
        <p15:guide id="6" pos="1415" userDrawn="1">
          <p15:clr>
            <a:srgbClr val="F26B43"/>
          </p15:clr>
        </p15:guide>
        <p15:guide id="7" pos="1535" userDrawn="1">
          <p15:clr>
            <a:srgbClr val="F26B43"/>
          </p15:clr>
        </p15:guide>
        <p15:guide id="10" pos="2004" userDrawn="1">
          <p15:clr>
            <a:srgbClr val="F26B43"/>
          </p15:clr>
        </p15:guide>
        <p15:guide id="11" pos="2121" userDrawn="1">
          <p15:clr>
            <a:srgbClr val="F26B43"/>
          </p15:clr>
        </p15:guide>
        <p15:guide id="12" orient="horz" pos="690" userDrawn="1">
          <p15:clr>
            <a:srgbClr val="F26B43"/>
          </p15:clr>
        </p15:guide>
        <p15:guide id="13" orient="horz" pos="788" userDrawn="1">
          <p15:clr>
            <a:srgbClr val="F26B43"/>
          </p15:clr>
        </p15:guide>
        <p15:guide id="14" orient="horz" pos="346" userDrawn="1">
          <p15:clr>
            <a:srgbClr val="F26B43"/>
          </p15:clr>
        </p15:guide>
        <p15:guide id="15" orient="horz" pos="1128" userDrawn="1">
          <p15:clr>
            <a:srgbClr val="F26B43"/>
          </p15:clr>
        </p15:guide>
        <p15:guide id="16" orient="horz" pos="1232" userDrawn="1">
          <p15:clr>
            <a:srgbClr val="F26B43"/>
          </p15:clr>
        </p15:guide>
        <p15:guide id="17" orient="horz" pos="1577" userDrawn="1">
          <p15:clr>
            <a:srgbClr val="F26B43"/>
          </p15:clr>
        </p15:guide>
        <p15:guide id="18" orient="horz" pos="1680" userDrawn="1">
          <p15:clr>
            <a:srgbClr val="F26B43"/>
          </p15:clr>
        </p15:guide>
        <p15:guide id="19" orient="horz" pos="4242" userDrawn="1">
          <p15:clr>
            <a:srgbClr val="F26B43"/>
          </p15:clr>
        </p15:guide>
        <p15:guide id="20" pos="2591" userDrawn="1">
          <p15:clr>
            <a:srgbClr val="F26B43"/>
          </p15:clr>
        </p15:guide>
        <p15:guide id="22" pos="2714" userDrawn="1">
          <p15:clr>
            <a:srgbClr val="F26B43"/>
          </p15:clr>
        </p15:guide>
        <p15:guide id="24" pos="3184" userDrawn="1">
          <p15:clr>
            <a:srgbClr val="F26B43"/>
          </p15:clr>
        </p15:guide>
        <p15:guide id="25" pos="3310" userDrawn="1">
          <p15:clr>
            <a:srgbClr val="F26B43"/>
          </p15:clr>
        </p15:guide>
        <p15:guide id="26" pos="3785" userDrawn="1">
          <p15:clr>
            <a:srgbClr val="F26B43"/>
          </p15:clr>
        </p15:guide>
        <p15:guide id="27" pos="3898" userDrawn="1">
          <p15:clr>
            <a:srgbClr val="F26B43"/>
          </p15:clr>
        </p15:guide>
        <p15:guide id="28" pos="4369" userDrawn="1">
          <p15:clr>
            <a:srgbClr val="F26B43"/>
          </p15:clr>
        </p15:guide>
        <p15:guide id="29" pos="4490" userDrawn="1">
          <p15:clr>
            <a:srgbClr val="F26B43"/>
          </p15:clr>
        </p15:guide>
        <p15:guide id="30" pos="4965" userDrawn="1">
          <p15:clr>
            <a:srgbClr val="F26B43"/>
          </p15:clr>
        </p15:guide>
        <p15:guide id="31" pos="5079" userDrawn="1">
          <p15:clr>
            <a:srgbClr val="F26B43"/>
          </p15:clr>
        </p15:guide>
        <p15:guide id="34" pos="5557" userDrawn="1">
          <p15:clr>
            <a:srgbClr val="F26B43"/>
          </p15:clr>
        </p15:guide>
        <p15:guide id="35" pos="5671" userDrawn="1">
          <p15:clr>
            <a:srgbClr val="F26B43"/>
          </p15:clr>
        </p15:guide>
        <p15:guide id="36" pos="6145" userDrawn="1">
          <p15:clr>
            <a:srgbClr val="F26B43"/>
          </p15:clr>
        </p15:guide>
        <p15:guide id="37" pos="6263" userDrawn="1">
          <p15:clr>
            <a:srgbClr val="F26B43"/>
          </p15:clr>
        </p15:guide>
        <p15:guide id="38" pos="6738" userDrawn="1">
          <p15:clr>
            <a:srgbClr val="F26B43"/>
          </p15:clr>
        </p15:guide>
        <p15:guide id="39" pos="6855" userDrawn="1">
          <p15:clr>
            <a:srgbClr val="F26B43"/>
          </p15:clr>
        </p15:guide>
        <p15:guide id="41" orient="horz" pos="2024" userDrawn="1">
          <p15:clr>
            <a:srgbClr val="F26B43"/>
          </p15:clr>
        </p15:guide>
        <p15:guide id="42" orient="horz" pos="2124" userDrawn="1">
          <p15:clr>
            <a:srgbClr val="F26B43"/>
          </p15:clr>
        </p15:guide>
        <p15:guide id="43" orient="horz" pos="2468" userDrawn="1">
          <p15:clr>
            <a:srgbClr val="F26B43"/>
          </p15:clr>
        </p15:guide>
        <p15:guide id="44" orient="horz" pos="2566" userDrawn="1">
          <p15:clr>
            <a:srgbClr val="F26B43"/>
          </p15:clr>
        </p15:guide>
        <p15:guide id="45" orient="horz" pos="2912" userDrawn="1">
          <p15:clr>
            <a:srgbClr val="F26B43"/>
          </p15:clr>
        </p15:guide>
        <p15:guide id="46" orient="horz" pos="3010" userDrawn="1">
          <p15:clr>
            <a:srgbClr val="F26B43"/>
          </p15:clr>
        </p15:guide>
        <p15:guide id="47" orient="horz" pos="3356" userDrawn="1">
          <p15:clr>
            <a:srgbClr val="F26B43"/>
          </p15:clr>
        </p15:guide>
        <p15:guide id="48" orient="horz" pos="3453" userDrawn="1">
          <p15:clr>
            <a:srgbClr val="F26B43"/>
          </p15:clr>
        </p15:guide>
        <p15:guide id="49" orient="horz" pos="3798" userDrawn="1">
          <p15:clr>
            <a:srgbClr val="F26B43"/>
          </p15:clr>
        </p15:guide>
        <p15:guide id="50" orient="horz" pos="389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15.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5.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hyperlink" Target="https://mynow.servicenow.com/now/best-practices/home" TargetMode="External"/><Relationship Id="rId1" Type="http://schemas.openxmlformats.org/officeDocument/2006/relationships/slideLayout" Target="../slideLayouts/slideLayout56.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6.xml"/><Relationship Id="rId5" Type="http://schemas.openxmlformats.org/officeDocument/2006/relationships/image" Target="../media/image27.png"/><Relationship Id="rId4" Type="http://schemas.openxmlformats.org/officeDocument/2006/relationships/image" Target="../media/image26.png"/></Relationships>
</file>

<file path=ppt/slides/_rels/slide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6.xml"/><Relationship Id="rId4" Type="http://schemas.openxmlformats.org/officeDocument/2006/relationships/image" Target="../media/image30.png"/></Relationships>
</file>

<file path=ppt/slides/_rels/slide6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79.jpeg"/></Relationships>
</file>

<file path=ppt/slides/_rels/slide7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4.xml"/><Relationship Id="rId1" Type="http://schemas.openxmlformats.org/officeDocument/2006/relationships/slideLayout" Target="../slideLayouts/slideLayout15.xml"/><Relationship Id="rId5" Type="http://schemas.openxmlformats.org/officeDocument/2006/relationships/image" Target="../media/image82.png"/><Relationship Id="rId4" Type="http://schemas.openxmlformats.org/officeDocument/2006/relationships/image" Target="../media/image81.png"/></Relationships>
</file>

<file path=ppt/slides/_rels/slide7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8.xml"/><Relationship Id="rId1" Type="http://schemas.openxmlformats.org/officeDocument/2006/relationships/slideLayout" Target="../slideLayouts/slideLayout15.xml"/><Relationship Id="rId4" Type="http://schemas.openxmlformats.org/officeDocument/2006/relationships/image" Target="../media/image87.png"/></Relationships>
</file>

<file path=ppt/slides/_rels/slide8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8.xml.rels><?xml version="1.0" encoding="UTF-8" standalone="yes"?>
<Relationships xmlns="http://schemas.openxmlformats.org/package/2006/relationships"><Relationship Id="rId8" Type="http://schemas.openxmlformats.org/officeDocument/2006/relationships/hyperlink" Target="https://servicenow.highspot.com/spots/62ea916db2b048660e1c0b3d" TargetMode="External"/><Relationship Id="rId3" Type="http://schemas.microsoft.com/office/2018/10/relationships/comments" Target="../comments/modernComment_12A_4816E1CA.xml"/><Relationship Id="rId7" Type="http://schemas.openxmlformats.org/officeDocument/2006/relationships/hyperlink" Target="https://servicenow.highspot.com/spots/631a2b43720e27c6c500a08b" TargetMode="Externa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hyperlink" Target="https://nowlearning.servicenow.com/lxp/en/pages/servicenow" TargetMode="External"/><Relationship Id="rId5" Type="http://schemas.openxmlformats.org/officeDocument/2006/relationships/hyperlink" Target="https://docs.servicenow.com/" TargetMode="External"/><Relationship Id="rId4" Type="http://schemas.openxmlformats.org/officeDocument/2006/relationships/hyperlink" Target="https://mynow.servicenow.com/now/best-practices/home" TargetMode="External"/><Relationship Id="rId9" Type="http://schemas.openxmlformats.org/officeDocument/2006/relationships/image" Target="../media/image8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41B5C-9931-7C30-1FE7-BA000F7E484C}"/>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9DA5E241-B2EF-BA69-CF4B-A9D17C892CC6}"/>
              </a:ext>
            </a:extLst>
          </p:cNvPr>
          <p:cNvSpPr>
            <a:spLocks noGrp="1"/>
          </p:cNvSpPr>
          <p:nvPr>
            <p:ph type="title"/>
          </p:nvPr>
        </p:nvSpPr>
        <p:spPr/>
        <p:txBody>
          <a:bodyPr/>
          <a:lstStyle/>
          <a:p>
            <a:r>
              <a:rPr lang="en-US" dirty="0">
                <a:solidFill>
                  <a:schemeClr val="accent1"/>
                </a:solidFill>
              </a:rPr>
              <a:t>Hiring Experiences</a:t>
            </a:r>
            <a:br>
              <a:rPr lang="en-US" dirty="0"/>
            </a:br>
            <a:r>
              <a:rPr lang="en-US" dirty="0"/>
              <a:t>Process Workshop Presentation</a:t>
            </a:r>
          </a:p>
        </p:txBody>
      </p:sp>
      <p:sp>
        <p:nvSpPr>
          <p:cNvPr id="11" name="Text Placeholder 10">
            <a:extLst>
              <a:ext uri="{FF2B5EF4-FFF2-40B4-BE49-F238E27FC236}">
                <a16:creationId xmlns:a16="http://schemas.microsoft.com/office/drawing/2014/main" id="{BF49DA14-9114-BD76-FF52-2E6113262AD2}"/>
              </a:ext>
            </a:extLst>
          </p:cNvPr>
          <p:cNvSpPr>
            <a:spLocks noGrp="1"/>
          </p:cNvSpPr>
          <p:nvPr>
            <p:ph type="body" sz="quarter" idx="10"/>
          </p:nvPr>
        </p:nvSpPr>
        <p:spPr/>
        <p:txBody>
          <a:bodyPr/>
          <a:lstStyle/>
          <a:p>
            <a:pPr marL="11110"/>
            <a:r>
              <a:rPr lang="en-US" dirty="0"/>
              <a:t>Zurich release</a:t>
            </a:r>
          </a:p>
        </p:txBody>
      </p:sp>
      <p:sp>
        <p:nvSpPr>
          <p:cNvPr id="12" name="Text Placeholder 11">
            <a:extLst>
              <a:ext uri="{FF2B5EF4-FFF2-40B4-BE49-F238E27FC236}">
                <a16:creationId xmlns:a16="http://schemas.microsoft.com/office/drawing/2014/main" id="{41475C77-E8A4-2195-CE04-E2F510954EDD}"/>
              </a:ext>
            </a:extLst>
          </p:cNvPr>
          <p:cNvSpPr>
            <a:spLocks noGrp="1"/>
          </p:cNvSpPr>
          <p:nvPr>
            <p:ph type="body" sz="quarter" idx="4294967295"/>
          </p:nvPr>
        </p:nvSpPr>
        <p:spPr>
          <a:xfrm>
            <a:off x="548497" y="5042542"/>
            <a:ext cx="6385485" cy="373036"/>
          </a:xfrm>
        </p:spPr>
        <p:txBody>
          <a:bodyPr/>
          <a:lstStyle/>
          <a:p>
            <a:r>
              <a:rPr lang="en-US" dirty="0"/>
              <a:t>Speaker</a:t>
            </a:r>
          </a:p>
        </p:txBody>
      </p:sp>
      <p:sp>
        <p:nvSpPr>
          <p:cNvPr id="13" name="Text Placeholder 12">
            <a:extLst>
              <a:ext uri="{FF2B5EF4-FFF2-40B4-BE49-F238E27FC236}">
                <a16:creationId xmlns:a16="http://schemas.microsoft.com/office/drawing/2014/main" id="{231D2017-DF80-E7F5-BCB6-8BB734D700AD}"/>
              </a:ext>
            </a:extLst>
          </p:cNvPr>
          <p:cNvSpPr>
            <a:spLocks noGrp="1"/>
          </p:cNvSpPr>
          <p:nvPr>
            <p:ph type="body" sz="quarter" idx="4294967295"/>
          </p:nvPr>
        </p:nvSpPr>
        <p:spPr>
          <a:xfrm>
            <a:off x="548497" y="5498413"/>
            <a:ext cx="6385485" cy="373036"/>
          </a:xfrm>
        </p:spPr>
        <p:txBody>
          <a:bodyPr vert="horz" lIns="0" tIns="0" rIns="0" bIns="0" rtlCol="0" anchor="t">
            <a:noAutofit/>
          </a:bodyPr>
          <a:lstStyle/>
          <a:p>
            <a:r>
              <a:rPr lang="en-US"/>
              <a:t>Asset Number: </a:t>
            </a:r>
            <a:r>
              <a:rPr lang="en-US">
                <a:ea typeface="+mn-lt"/>
                <a:cs typeface="+mn-lt"/>
              </a:rPr>
              <a:t>0004306</a:t>
            </a:r>
            <a:endParaRPr lang="en-US" dirty="0"/>
          </a:p>
        </p:txBody>
      </p:sp>
      <p:sp>
        <p:nvSpPr>
          <p:cNvPr id="14" name="Text Placeholder 13">
            <a:extLst>
              <a:ext uri="{FF2B5EF4-FFF2-40B4-BE49-F238E27FC236}">
                <a16:creationId xmlns:a16="http://schemas.microsoft.com/office/drawing/2014/main" id="{52546789-4E27-DC60-DB7D-888FF950390B}"/>
              </a:ext>
            </a:extLst>
          </p:cNvPr>
          <p:cNvSpPr>
            <a:spLocks noGrp="1"/>
          </p:cNvSpPr>
          <p:nvPr>
            <p:ph type="body" sz="quarter" idx="4294967295"/>
          </p:nvPr>
        </p:nvSpPr>
        <p:spPr>
          <a:xfrm>
            <a:off x="548497" y="5954284"/>
            <a:ext cx="6385485" cy="373036"/>
          </a:xfrm>
        </p:spPr>
        <p:txBody>
          <a:bodyPr/>
          <a:lstStyle/>
          <a:p>
            <a:r>
              <a:rPr lang="en-US" dirty="0"/>
              <a:t>November 2025</a:t>
            </a:r>
          </a:p>
        </p:txBody>
      </p:sp>
    </p:spTree>
    <p:extLst>
      <p:ext uri="{BB962C8B-B14F-4D97-AF65-F5344CB8AC3E}">
        <p14:creationId xmlns:p14="http://schemas.microsoft.com/office/powerpoint/2010/main" val="41085826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39A85-6CD9-DBB9-7CD2-D4302A79EC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6479FD1-A641-DD85-20D7-E333C8C65A29}"/>
              </a:ext>
            </a:extLst>
          </p:cNvPr>
          <p:cNvSpPr>
            <a:spLocks noGrp="1"/>
          </p:cNvSpPr>
          <p:nvPr>
            <p:ph type="title"/>
          </p:nvPr>
        </p:nvSpPr>
        <p:spPr/>
        <p:txBody>
          <a:bodyPr/>
          <a:lstStyle/>
          <a:p>
            <a:r>
              <a:rPr lang="en-US" dirty="0">
                <a:solidFill>
                  <a:schemeClr val="accent1"/>
                </a:solidFill>
              </a:rPr>
              <a:t>Hiring Experiences</a:t>
            </a:r>
            <a:endParaRPr lang="en-US" dirty="0"/>
          </a:p>
        </p:txBody>
      </p:sp>
      <p:sp>
        <p:nvSpPr>
          <p:cNvPr id="6" name="Text Placeholder 5">
            <a:extLst>
              <a:ext uri="{FF2B5EF4-FFF2-40B4-BE49-F238E27FC236}">
                <a16:creationId xmlns:a16="http://schemas.microsoft.com/office/drawing/2014/main" id="{AA03F57A-2371-63D4-805C-989C00D7371F}"/>
              </a:ext>
            </a:extLst>
          </p:cNvPr>
          <p:cNvSpPr>
            <a:spLocks noGrp="1"/>
          </p:cNvSpPr>
          <p:nvPr>
            <p:ph type="subTitle" idx="1"/>
          </p:nvPr>
        </p:nvSpPr>
        <p:spPr/>
        <p:txBody>
          <a:bodyPr/>
          <a:lstStyle/>
          <a:p>
            <a:r>
              <a:rPr lang="en-US" dirty="0"/>
              <a:t>Overview</a:t>
            </a:r>
          </a:p>
        </p:txBody>
      </p:sp>
    </p:spTree>
    <p:extLst>
      <p:ext uri="{BB962C8B-B14F-4D97-AF65-F5344CB8AC3E}">
        <p14:creationId xmlns:p14="http://schemas.microsoft.com/office/powerpoint/2010/main" val="1826707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FEBA4-C2E9-225E-DA12-2C536DE97ADF}"/>
            </a:ext>
          </a:extLst>
        </p:cNvPr>
        <p:cNvGrpSpPr/>
        <p:nvPr/>
      </p:nvGrpSpPr>
      <p:grpSpPr>
        <a:xfrm>
          <a:off x="0" y="0"/>
          <a:ext cx="0" cy="0"/>
          <a:chOff x="0" y="0"/>
          <a:chExt cx="0" cy="0"/>
        </a:xfrm>
      </p:grpSpPr>
      <p:sp>
        <p:nvSpPr>
          <p:cNvPr id="31" name="Title 30">
            <a:extLst>
              <a:ext uri="{FF2B5EF4-FFF2-40B4-BE49-F238E27FC236}">
                <a16:creationId xmlns:a16="http://schemas.microsoft.com/office/drawing/2014/main" id="{C3255893-015C-559F-B12A-37A02D9FB97E}"/>
              </a:ext>
            </a:extLst>
          </p:cNvPr>
          <p:cNvSpPr>
            <a:spLocks noGrp="1"/>
          </p:cNvSpPr>
          <p:nvPr>
            <p:ph type="title"/>
          </p:nvPr>
        </p:nvSpPr>
        <p:spPr>
          <a:xfrm>
            <a:off x="548640" y="530352"/>
            <a:ext cx="11091672" cy="594360"/>
          </a:xfrm>
        </p:spPr>
        <p:txBody>
          <a:bodyPr/>
          <a:lstStyle/>
          <a:p>
            <a:r>
              <a:rPr lang="en-US" dirty="0">
                <a:solidFill>
                  <a:srgbClr val="63DF4E"/>
                </a:solidFill>
              </a:rPr>
              <a:t>Streamline and accelerate hiring</a:t>
            </a:r>
            <a:br>
              <a:rPr lang="en-US" dirty="0"/>
            </a:br>
            <a:r>
              <a:rPr lang="en-US" dirty="0"/>
              <a:t>with transparent workflows and experience</a:t>
            </a:r>
          </a:p>
        </p:txBody>
      </p:sp>
      <p:sp>
        <p:nvSpPr>
          <p:cNvPr id="5" name="Text Placeholder 4">
            <a:extLst>
              <a:ext uri="{FF2B5EF4-FFF2-40B4-BE49-F238E27FC236}">
                <a16:creationId xmlns:a16="http://schemas.microsoft.com/office/drawing/2014/main" id="{088311E8-23EC-FFEB-4CEA-EE35D6954691}"/>
              </a:ext>
            </a:extLst>
          </p:cNvPr>
          <p:cNvSpPr>
            <a:spLocks noGrp="1"/>
          </p:cNvSpPr>
          <p:nvPr>
            <p:ph type="body" sz="quarter" idx="20"/>
          </p:nvPr>
        </p:nvSpPr>
        <p:spPr>
          <a:xfrm>
            <a:off x="549275" y="1798638"/>
            <a:ext cx="2632075" cy="868362"/>
          </a:xfrm>
        </p:spPr>
        <p:txBody>
          <a:bodyPr/>
          <a:lstStyle/>
          <a:p>
            <a:r>
              <a:rPr lang="en-US" dirty="0"/>
              <a:t>Plan</a:t>
            </a:r>
          </a:p>
        </p:txBody>
      </p:sp>
      <p:sp>
        <p:nvSpPr>
          <p:cNvPr id="8" name="Text Placeholder 7">
            <a:extLst>
              <a:ext uri="{FF2B5EF4-FFF2-40B4-BE49-F238E27FC236}">
                <a16:creationId xmlns:a16="http://schemas.microsoft.com/office/drawing/2014/main" id="{D663F690-83F8-4AE8-FF4C-3571B7201FBE}"/>
              </a:ext>
            </a:extLst>
          </p:cNvPr>
          <p:cNvSpPr>
            <a:spLocks noGrp="1"/>
          </p:cNvSpPr>
          <p:nvPr>
            <p:ph type="body" sz="quarter" idx="24"/>
          </p:nvPr>
        </p:nvSpPr>
        <p:spPr>
          <a:xfrm>
            <a:off x="3370206" y="1798638"/>
            <a:ext cx="2632213" cy="868362"/>
          </a:xfrm>
        </p:spPr>
        <p:txBody>
          <a:bodyPr/>
          <a:lstStyle/>
          <a:p>
            <a:r>
              <a:rPr lang="en-US" dirty="0"/>
              <a:t>Source</a:t>
            </a:r>
          </a:p>
        </p:txBody>
      </p:sp>
      <p:sp>
        <p:nvSpPr>
          <p:cNvPr id="9" name="Text Placeholder 8">
            <a:extLst>
              <a:ext uri="{FF2B5EF4-FFF2-40B4-BE49-F238E27FC236}">
                <a16:creationId xmlns:a16="http://schemas.microsoft.com/office/drawing/2014/main" id="{925AFDBF-EC5F-E9EA-4AF7-D3B54F8F52ED}"/>
              </a:ext>
            </a:extLst>
          </p:cNvPr>
          <p:cNvSpPr>
            <a:spLocks noGrp="1"/>
          </p:cNvSpPr>
          <p:nvPr>
            <p:ph type="body" sz="quarter" idx="25"/>
          </p:nvPr>
        </p:nvSpPr>
        <p:spPr>
          <a:xfrm>
            <a:off x="6191137" y="1798638"/>
            <a:ext cx="2633473" cy="868362"/>
          </a:xfrm>
        </p:spPr>
        <p:txBody>
          <a:bodyPr/>
          <a:lstStyle/>
          <a:p>
            <a:r>
              <a:rPr lang="en-US" dirty="0"/>
              <a:t>Interview</a:t>
            </a:r>
          </a:p>
        </p:txBody>
      </p:sp>
      <p:sp>
        <p:nvSpPr>
          <p:cNvPr id="10" name="Text Placeholder 9">
            <a:extLst>
              <a:ext uri="{FF2B5EF4-FFF2-40B4-BE49-F238E27FC236}">
                <a16:creationId xmlns:a16="http://schemas.microsoft.com/office/drawing/2014/main" id="{98229720-B269-AFFB-4080-F70EEAA13447}"/>
              </a:ext>
            </a:extLst>
          </p:cNvPr>
          <p:cNvSpPr>
            <a:spLocks noGrp="1"/>
          </p:cNvSpPr>
          <p:nvPr>
            <p:ph type="body" sz="quarter" idx="26"/>
          </p:nvPr>
        </p:nvSpPr>
        <p:spPr>
          <a:xfrm>
            <a:off x="9012067" y="1798638"/>
            <a:ext cx="2633472" cy="868362"/>
          </a:xfrm>
        </p:spPr>
        <p:txBody>
          <a:bodyPr/>
          <a:lstStyle/>
          <a:p>
            <a:r>
              <a:rPr lang="en-US" dirty="0"/>
              <a:t>Hire</a:t>
            </a:r>
          </a:p>
        </p:txBody>
      </p:sp>
      <p:sp>
        <p:nvSpPr>
          <p:cNvPr id="4" name="Text Placeholder 3">
            <a:extLst>
              <a:ext uri="{FF2B5EF4-FFF2-40B4-BE49-F238E27FC236}">
                <a16:creationId xmlns:a16="http://schemas.microsoft.com/office/drawing/2014/main" id="{EFFBB962-8851-6D65-1BCB-02EA089CD063}"/>
              </a:ext>
            </a:extLst>
          </p:cNvPr>
          <p:cNvSpPr>
            <a:spLocks noGrp="1"/>
          </p:cNvSpPr>
          <p:nvPr>
            <p:ph type="body" sz="quarter" idx="19"/>
          </p:nvPr>
        </p:nvSpPr>
        <p:spPr>
          <a:xfrm>
            <a:off x="549275" y="2667000"/>
            <a:ext cx="2633472" cy="3520440"/>
          </a:xfrm>
        </p:spPr>
        <p:txBody>
          <a:bodyPr/>
          <a:lstStyle/>
          <a:p>
            <a:r>
              <a:rPr lang="en-US" dirty="0"/>
              <a:t>Hiring managers create and submit job requisitions.</a:t>
            </a:r>
          </a:p>
          <a:p>
            <a:r>
              <a:rPr lang="en-US" dirty="0"/>
              <a:t>Managers collaborate for job description templates, approvals, and recruiter input.</a:t>
            </a:r>
          </a:p>
          <a:p>
            <a:endParaRPr lang="en-US" dirty="0"/>
          </a:p>
        </p:txBody>
      </p:sp>
      <p:sp>
        <p:nvSpPr>
          <p:cNvPr id="11" name="Text Placeholder 10">
            <a:extLst>
              <a:ext uri="{FF2B5EF4-FFF2-40B4-BE49-F238E27FC236}">
                <a16:creationId xmlns:a16="http://schemas.microsoft.com/office/drawing/2014/main" id="{A171FCE3-6636-5694-03EE-ED3E990A8BA8}"/>
              </a:ext>
            </a:extLst>
          </p:cNvPr>
          <p:cNvSpPr>
            <a:spLocks noGrp="1"/>
          </p:cNvSpPr>
          <p:nvPr>
            <p:ph type="body" sz="quarter" idx="30"/>
          </p:nvPr>
        </p:nvSpPr>
        <p:spPr>
          <a:xfrm>
            <a:off x="3370206" y="2667000"/>
            <a:ext cx="2633472" cy="3520440"/>
          </a:xfrm>
        </p:spPr>
        <p:txBody>
          <a:bodyPr/>
          <a:lstStyle/>
          <a:p>
            <a:r>
              <a:rPr lang="en-US" dirty="0"/>
              <a:t>Job requisitions are shared with the ATS* for posting and applications.</a:t>
            </a:r>
          </a:p>
          <a:p>
            <a:r>
              <a:rPr lang="en-US" dirty="0"/>
              <a:t>Integrations share applications with managers, recruiters, and panelists to continue screening.</a:t>
            </a:r>
          </a:p>
          <a:p>
            <a:endParaRPr lang="en-US" dirty="0"/>
          </a:p>
        </p:txBody>
      </p:sp>
      <p:sp>
        <p:nvSpPr>
          <p:cNvPr id="6" name="Text Placeholder 5">
            <a:extLst>
              <a:ext uri="{FF2B5EF4-FFF2-40B4-BE49-F238E27FC236}">
                <a16:creationId xmlns:a16="http://schemas.microsoft.com/office/drawing/2014/main" id="{35CD9A17-9F17-D96C-38FD-A9FCD5ACE097}"/>
              </a:ext>
            </a:extLst>
          </p:cNvPr>
          <p:cNvSpPr>
            <a:spLocks noGrp="1"/>
          </p:cNvSpPr>
          <p:nvPr>
            <p:ph type="body" sz="quarter" idx="21"/>
          </p:nvPr>
        </p:nvSpPr>
        <p:spPr>
          <a:xfrm>
            <a:off x="6191137" y="2667000"/>
            <a:ext cx="2633472" cy="3520440"/>
          </a:xfrm>
        </p:spPr>
        <p:txBody>
          <a:bodyPr/>
          <a:lstStyle/>
          <a:p>
            <a:r>
              <a:rPr lang="en-US" dirty="0"/>
              <a:t>Applicants are invited to an external portal to track progress, schedule interviews, and stay engaged.</a:t>
            </a:r>
          </a:p>
          <a:p>
            <a:r>
              <a:rPr lang="en-US" dirty="0"/>
              <a:t>Interview slots are identified and proposed, applicants can self-schedule, and reminders are automated.</a:t>
            </a:r>
          </a:p>
          <a:p>
            <a:endParaRPr lang="en-US" dirty="0"/>
          </a:p>
        </p:txBody>
      </p:sp>
      <p:sp>
        <p:nvSpPr>
          <p:cNvPr id="7" name="Text Placeholder 6">
            <a:extLst>
              <a:ext uri="{FF2B5EF4-FFF2-40B4-BE49-F238E27FC236}">
                <a16:creationId xmlns:a16="http://schemas.microsoft.com/office/drawing/2014/main" id="{A8066554-80E4-52AC-C370-4131FBAF8189}"/>
              </a:ext>
            </a:extLst>
          </p:cNvPr>
          <p:cNvSpPr>
            <a:spLocks noGrp="1"/>
          </p:cNvSpPr>
          <p:nvPr>
            <p:ph type="body" sz="quarter" idx="22"/>
          </p:nvPr>
        </p:nvSpPr>
        <p:spPr>
          <a:xfrm>
            <a:off x="9012067" y="2667000"/>
            <a:ext cx="2633472" cy="3520440"/>
          </a:xfrm>
        </p:spPr>
        <p:txBody>
          <a:bodyPr/>
          <a:lstStyle/>
          <a:p>
            <a:r>
              <a:rPr lang="en-US" dirty="0"/>
              <a:t>Selected applicants can communicate with the team during the hiring process – through to pre-hire and onboarding.</a:t>
            </a:r>
          </a:p>
          <a:p>
            <a:endParaRPr lang="en-US" dirty="0"/>
          </a:p>
        </p:txBody>
      </p:sp>
      <p:sp>
        <p:nvSpPr>
          <p:cNvPr id="12" name="Text Placeholder 25">
            <a:extLst>
              <a:ext uri="{FF2B5EF4-FFF2-40B4-BE49-F238E27FC236}">
                <a16:creationId xmlns:a16="http://schemas.microsoft.com/office/drawing/2014/main" id="{917A9538-86FD-3480-C56D-B413C87E6024}"/>
              </a:ext>
            </a:extLst>
          </p:cNvPr>
          <p:cNvSpPr txBox="1">
            <a:spLocks/>
          </p:cNvSpPr>
          <p:nvPr/>
        </p:nvSpPr>
        <p:spPr>
          <a:xfrm>
            <a:off x="4917688" y="5852160"/>
            <a:ext cx="1084731" cy="193157"/>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1000"/>
              </a:spcAft>
              <a:buFont typeface="ServiceNow Sans Light" panose="020B0404040101010104" pitchFamily="34" charset="0"/>
              <a:buChar char="​"/>
              <a:defRPr lang="en-US" sz="800" b="0" i="0" kern="1200" spc="0" baseline="0">
                <a:solidFill>
                  <a:schemeClr val="bg1"/>
                </a:solidFill>
                <a:latin typeface="+mn-lt"/>
                <a:ea typeface="+mn-ea"/>
                <a:cs typeface="ServiceNow Sans Light" panose="020B0404040101010104" pitchFamily="34" charset="77"/>
              </a:defRPr>
            </a:lvl1pPr>
            <a:lvl2pPr marL="18288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600" b="0" i="0" kern="1200" spc="0" baseline="0">
                <a:solidFill>
                  <a:schemeClr val="bg1"/>
                </a:solidFill>
                <a:latin typeface="+mn-lt"/>
                <a:ea typeface="+mn-ea"/>
                <a:cs typeface="ServiceNow Sans Light" panose="020B0404040101010104" pitchFamily="34" charset="77"/>
              </a:defRPr>
            </a:lvl2pPr>
            <a:lvl3pPr marL="36576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6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600" b="0" i="0" kern="1200" spc="0" baseline="0">
                <a:solidFill>
                  <a:schemeClr val="bg1"/>
                </a:solidFill>
                <a:latin typeface="+mn-lt"/>
                <a:ea typeface="+mn-ea"/>
                <a:cs typeface="ServiceNow Sans Medium" panose="020B0704040101010104" pitchFamily="34" charset="0"/>
              </a:defRPr>
            </a:lvl4pPr>
            <a:lvl5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600" b="0" i="0" kern="1200" spc="0" baseline="0">
                <a:solidFill>
                  <a:schemeClr val="bg1"/>
                </a:solidFill>
                <a:latin typeface="+mn-lt"/>
                <a:ea typeface="+mn-ea"/>
                <a:cs typeface="ServiceNow Sans Medium" panose="020B0704040101010104" pitchFamily="34" charset="0"/>
              </a:defRPr>
            </a:lvl5pPr>
            <a:lvl6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a:solidFill>
                  <a:schemeClr val="bg1"/>
                </a:solidFill>
                <a:latin typeface="+mn-lt"/>
                <a:ea typeface="+mn-ea"/>
                <a:cs typeface="ServiceNow Sans Display Bold" panose="020B0504040101010104" pitchFamily="34" charset="77"/>
              </a:defRPr>
            </a:lvl6pPr>
            <a:lvl7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7pPr>
            <a:lvl8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8pPr>
            <a:lvl9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sz="1400" kern="1200">
                <a:solidFill>
                  <a:schemeClr val="bg1"/>
                </a:solidFill>
                <a:latin typeface="+mn-lt"/>
                <a:ea typeface="+mn-ea"/>
                <a:cs typeface="+mn-cs"/>
              </a:defRPr>
            </a:lvl9pPr>
          </a:lstStyle>
          <a:p>
            <a:r>
              <a:rPr lang="en-US" dirty="0"/>
              <a:t>*Integration required</a:t>
            </a:r>
          </a:p>
        </p:txBody>
      </p:sp>
    </p:spTree>
    <p:extLst>
      <p:ext uri="{BB962C8B-B14F-4D97-AF65-F5344CB8AC3E}">
        <p14:creationId xmlns:p14="http://schemas.microsoft.com/office/powerpoint/2010/main" val="25839128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06C99-D631-3C87-E409-8CFF772527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6B8C6C-0CA6-8E8A-7198-9A5CA668284D}"/>
              </a:ext>
            </a:extLst>
          </p:cNvPr>
          <p:cNvSpPr>
            <a:spLocks noGrp="1"/>
          </p:cNvSpPr>
          <p:nvPr>
            <p:ph type="title"/>
          </p:nvPr>
        </p:nvSpPr>
        <p:spPr/>
        <p:txBody>
          <a:bodyPr/>
          <a:lstStyle/>
          <a:p>
            <a:r>
              <a:rPr lang="en-US" dirty="0"/>
              <a:t>Hiring Experiences overview</a:t>
            </a:r>
          </a:p>
        </p:txBody>
      </p:sp>
      <p:sp>
        <p:nvSpPr>
          <p:cNvPr id="33" name="TextBox 32">
            <a:extLst>
              <a:ext uri="{FF2B5EF4-FFF2-40B4-BE49-F238E27FC236}">
                <a16:creationId xmlns:a16="http://schemas.microsoft.com/office/drawing/2014/main" id="{14732E2C-EE91-7BDE-6932-B6BEA466686C}"/>
              </a:ext>
            </a:extLst>
          </p:cNvPr>
          <p:cNvSpPr txBox="1"/>
          <p:nvPr/>
        </p:nvSpPr>
        <p:spPr>
          <a:xfrm>
            <a:off x="1713191" y="2907302"/>
            <a:ext cx="1349304" cy="307777"/>
          </a:xfrm>
          <a:prstGeom prst="rect">
            <a:avLst/>
          </a:prstGeom>
          <a:noFill/>
        </p:spPr>
        <p:txBody>
          <a:bodyPr wrap="square" rtlCol="0">
            <a:spAutoFit/>
          </a:bodyPr>
          <a:lstStyle/>
          <a:p>
            <a:pPr algn="ctr"/>
            <a:r>
              <a:rPr lang="en-US" sz="1400" b="1" dirty="0">
                <a:solidFill>
                  <a:schemeClr val="bg1"/>
                </a:solidFill>
              </a:rPr>
              <a:t>Applicant</a:t>
            </a:r>
          </a:p>
        </p:txBody>
      </p:sp>
      <p:grpSp>
        <p:nvGrpSpPr>
          <p:cNvPr id="34" name="Group 33">
            <a:extLst>
              <a:ext uri="{FF2B5EF4-FFF2-40B4-BE49-F238E27FC236}">
                <a16:creationId xmlns:a16="http://schemas.microsoft.com/office/drawing/2014/main" id="{840042C6-985D-209B-C9E7-53C2852AD279}"/>
              </a:ext>
            </a:extLst>
          </p:cNvPr>
          <p:cNvGrpSpPr/>
          <p:nvPr/>
        </p:nvGrpSpPr>
        <p:grpSpPr>
          <a:xfrm>
            <a:off x="5510717" y="1464130"/>
            <a:ext cx="710180" cy="693128"/>
            <a:chOff x="3188249" y="3491650"/>
            <a:chExt cx="710180" cy="693128"/>
          </a:xfrm>
        </p:grpSpPr>
        <p:sp>
          <p:nvSpPr>
            <p:cNvPr id="41" name="Oval 145">
              <a:extLst>
                <a:ext uri="{FF2B5EF4-FFF2-40B4-BE49-F238E27FC236}">
                  <a16:creationId xmlns:a16="http://schemas.microsoft.com/office/drawing/2014/main" id="{9FEF7421-96B5-1987-5552-162B15559BF2}"/>
                </a:ext>
              </a:extLst>
            </p:cNvPr>
            <p:cNvSpPr/>
            <p:nvPr/>
          </p:nvSpPr>
          <p:spPr>
            <a:xfrm>
              <a:off x="3188249" y="3491650"/>
              <a:ext cx="710180" cy="693128"/>
            </a:xfrm>
            <a:prstGeom prst="ellipse">
              <a:avLst/>
            </a:prstGeom>
            <a:noFill/>
            <a:ln w="25400" cap="flat">
              <a:solidFill>
                <a:schemeClr val="accent6"/>
              </a:solidFill>
              <a:prstDash val="solid"/>
              <a:miter lim="800000"/>
            </a:ln>
            <a:effectLst/>
          </p:spPr>
          <p:txBody>
            <a:bodyPr wrap="square" lIns="45670" tIns="45670" rIns="45670" bIns="45670" numCol="1" anchor="ctr">
              <a:noAutofit/>
            </a:bodyPr>
            <a:lstStyle/>
            <a:p>
              <a:pPr defTabSz="456582">
                <a:defRPr>
                  <a:solidFill>
                    <a:srgbClr val="FFFFFF"/>
                  </a:solidFill>
                </a:defRPr>
              </a:pPr>
              <a:endParaRPr sz="1698" dirty="0">
                <a:solidFill>
                  <a:srgbClr val="FFFFFF"/>
                </a:solidFill>
                <a:latin typeface="Century Gothic" panose="020F0302020204030204"/>
              </a:endParaRPr>
            </a:p>
          </p:txBody>
        </p:sp>
        <p:sp>
          <p:nvSpPr>
            <p:cNvPr id="39" name="Freeform: Shape 227">
              <a:extLst>
                <a:ext uri="{FF2B5EF4-FFF2-40B4-BE49-F238E27FC236}">
                  <a16:creationId xmlns:a16="http://schemas.microsoft.com/office/drawing/2014/main" id="{1A03D370-F444-72BC-0164-635E48A8824C}"/>
                </a:ext>
              </a:extLst>
            </p:cNvPr>
            <p:cNvSpPr/>
            <p:nvPr/>
          </p:nvSpPr>
          <p:spPr>
            <a:xfrm>
              <a:off x="3561370" y="3862652"/>
              <a:ext cx="41856" cy="30505"/>
            </a:xfrm>
            <a:custGeom>
              <a:avLst/>
              <a:gdLst>
                <a:gd name="connsiteX0" fmla="*/ 36269 w 98614"/>
                <a:gd name="connsiteY0" fmla="*/ 71870 h 71870"/>
                <a:gd name="connsiteX1" fmla="*/ 29342 w 98614"/>
                <a:gd name="connsiteY1" fmla="*/ 69273 h 71870"/>
                <a:gd name="connsiteX2" fmla="*/ 2499 w 98614"/>
                <a:gd name="connsiteY2" fmla="*/ 41564 h 71870"/>
                <a:gd name="connsiteX3" fmla="*/ 3364 w 98614"/>
                <a:gd name="connsiteY3" fmla="*/ 27709 h 71870"/>
                <a:gd name="connsiteX4" fmla="*/ 16353 w 98614"/>
                <a:gd name="connsiteY4" fmla="*/ 27709 h 71870"/>
                <a:gd name="connsiteX5" fmla="*/ 37135 w 98614"/>
                <a:gd name="connsiteY5" fmla="*/ 47625 h 71870"/>
                <a:gd name="connsiteX6" fmla="*/ 82162 w 98614"/>
                <a:gd name="connsiteY6" fmla="*/ 2598 h 71870"/>
                <a:gd name="connsiteX7" fmla="*/ 96017 w 98614"/>
                <a:gd name="connsiteY7" fmla="*/ 2598 h 71870"/>
                <a:gd name="connsiteX8" fmla="*/ 96017 w 98614"/>
                <a:gd name="connsiteY8" fmla="*/ 2598 h 71870"/>
                <a:gd name="connsiteX9" fmla="*/ 96017 w 98614"/>
                <a:gd name="connsiteY9" fmla="*/ 2598 h 71870"/>
                <a:gd name="connsiteX10" fmla="*/ 96017 w 98614"/>
                <a:gd name="connsiteY10" fmla="*/ 16452 h 71870"/>
                <a:gd name="connsiteX11" fmla="*/ 96017 w 98614"/>
                <a:gd name="connsiteY11" fmla="*/ 16452 h 71870"/>
                <a:gd name="connsiteX12" fmla="*/ 44062 w 98614"/>
                <a:gd name="connsiteY12" fmla="*/ 68407 h 71870"/>
                <a:gd name="connsiteX13" fmla="*/ 36269 w 98614"/>
                <a:gd name="connsiteY13" fmla="*/ 71870 h 7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614" h="71870">
                  <a:moveTo>
                    <a:pt x="36269" y="71870"/>
                  </a:moveTo>
                  <a:cubicBezTo>
                    <a:pt x="33671" y="71870"/>
                    <a:pt x="31074" y="71004"/>
                    <a:pt x="29342" y="69273"/>
                  </a:cubicBezTo>
                  <a:lnTo>
                    <a:pt x="2499" y="41564"/>
                  </a:lnTo>
                  <a:cubicBezTo>
                    <a:pt x="-965" y="37234"/>
                    <a:pt x="-965" y="31173"/>
                    <a:pt x="3364" y="27709"/>
                  </a:cubicBezTo>
                  <a:cubicBezTo>
                    <a:pt x="6828" y="24245"/>
                    <a:pt x="12889" y="24245"/>
                    <a:pt x="16353" y="27709"/>
                  </a:cubicBezTo>
                  <a:lnTo>
                    <a:pt x="37135" y="47625"/>
                  </a:lnTo>
                  <a:lnTo>
                    <a:pt x="82162" y="2598"/>
                  </a:lnTo>
                  <a:cubicBezTo>
                    <a:pt x="85626" y="-866"/>
                    <a:pt x="92553" y="-866"/>
                    <a:pt x="96017" y="2598"/>
                  </a:cubicBezTo>
                  <a:cubicBezTo>
                    <a:pt x="96017" y="2598"/>
                    <a:pt x="96017" y="2598"/>
                    <a:pt x="96017" y="2598"/>
                  </a:cubicBezTo>
                  <a:lnTo>
                    <a:pt x="96017" y="2598"/>
                  </a:lnTo>
                  <a:cubicBezTo>
                    <a:pt x="99480" y="6061"/>
                    <a:pt x="99480" y="12123"/>
                    <a:pt x="96017" y="16452"/>
                  </a:cubicBezTo>
                  <a:lnTo>
                    <a:pt x="96017" y="16452"/>
                  </a:lnTo>
                  <a:lnTo>
                    <a:pt x="44062" y="68407"/>
                  </a:lnTo>
                  <a:cubicBezTo>
                    <a:pt x="41465" y="71004"/>
                    <a:pt x="38867" y="71870"/>
                    <a:pt x="36269" y="71870"/>
                  </a:cubicBezTo>
                  <a:close/>
                </a:path>
              </a:pathLst>
            </a:custGeom>
            <a:solidFill>
              <a:schemeClr val="tx2"/>
            </a:solidFill>
            <a:ln w="8653" cap="flat">
              <a:noFill/>
              <a:prstDash val="solid"/>
              <a:miter/>
            </a:ln>
          </p:spPr>
          <p:txBody>
            <a:bodyPr rtlCol="0" anchor="ctr"/>
            <a:lstStyle/>
            <a:p>
              <a:endParaRPr lang="en-US" dirty="0"/>
            </a:p>
          </p:txBody>
        </p:sp>
      </p:grpSp>
      <p:grpSp>
        <p:nvGrpSpPr>
          <p:cNvPr id="43" name="Group 42">
            <a:extLst>
              <a:ext uri="{FF2B5EF4-FFF2-40B4-BE49-F238E27FC236}">
                <a16:creationId xmlns:a16="http://schemas.microsoft.com/office/drawing/2014/main" id="{5458194C-B9D1-14FB-18D9-E4103E7E45FA}"/>
              </a:ext>
            </a:extLst>
          </p:cNvPr>
          <p:cNvGrpSpPr/>
          <p:nvPr/>
        </p:nvGrpSpPr>
        <p:grpSpPr>
          <a:xfrm>
            <a:off x="5111188" y="5350594"/>
            <a:ext cx="1587539" cy="713835"/>
            <a:chOff x="918775" y="5688236"/>
            <a:chExt cx="1587539" cy="996871"/>
          </a:xfrm>
        </p:grpSpPr>
        <p:sp>
          <p:nvSpPr>
            <p:cNvPr id="61" name="TextBox 60">
              <a:extLst>
                <a:ext uri="{FF2B5EF4-FFF2-40B4-BE49-F238E27FC236}">
                  <a16:creationId xmlns:a16="http://schemas.microsoft.com/office/drawing/2014/main" id="{D8FA1C1C-BF59-855A-F37E-7958F0789EF4}"/>
                </a:ext>
              </a:extLst>
            </p:cNvPr>
            <p:cNvSpPr txBox="1"/>
            <p:nvPr/>
          </p:nvSpPr>
          <p:spPr>
            <a:xfrm>
              <a:off x="918775" y="6329495"/>
              <a:ext cx="1587539" cy="355612"/>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079" tIns="30079" rIns="30079" bIns="30079" numCol="1" spcCol="38100" rtlCol="0" anchor="t">
              <a:spAutoFit/>
            </a:bodyPr>
            <a:lstStyle/>
            <a:p>
              <a:pPr algn="ctr" defTabSz="1827305">
                <a:lnSpc>
                  <a:spcPct val="90000"/>
                </a:lnSpc>
              </a:pPr>
              <a:r>
                <a:rPr lang="en-US" sz="1400" dirty="0">
                  <a:solidFill>
                    <a:schemeClr val="bg1"/>
                  </a:solidFill>
                  <a:latin typeface="Century Gothic"/>
                  <a:sym typeface="Gilroy W05 Bold"/>
                </a:rPr>
                <a:t>ATS</a:t>
              </a:r>
              <a:endParaRPr lang="en-US" sz="1400" dirty="0">
                <a:solidFill>
                  <a:schemeClr val="bg1"/>
                </a:solidFill>
                <a:latin typeface="Century Gothic"/>
              </a:endParaRPr>
            </a:p>
          </p:txBody>
        </p:sp>
        <p:grpSp>
          <p:nvGrpSpPr>
            <p:cNvPr id="62" name="Group 61">
              <a:extLst>
                <a:ext uri="{FF2B5EF4-FFF2-40B4-BE49-F238E27FC236}">
                  <a16:creationId xmlns:a16="http://schemas.microsoft.com/office/drawing/2014/main" id="{371CD95F-2AFF-27A8-C144-8535A1FAAC2E}"/>
                </a:ext>
              </a:extLst>
            </p:cNvPr>
            <p:cNvGrpSpPr/>
            <p:nvPr/>
          </p:nvGrpSpPr>
          <p:grpSpPr>
            <a:xfrm>
              <a:off x="1646909" y="5688236"/>
              <a:ext cx="129061" cy="530496"/>
              <a:chOff x="1646909" y="5688236"/>
              <a:chExt cx="129061" cy="530496"/>
            </a:xfrm>
          </p:grpSpPr>
          <p:cxnSp>
            <p:nvCxnSpPr>
              <p:cNvPr id="63" name="Straight Arrow Connector 62">
                <a:extLst>
                  <a:ext uri="{FF2B5EF4-FFF2-40B4-BE49-F238E27FC236}">
                    <a16:creationId xmlns:a16="http://schemas.microsoft.com/office/drawing/2014/main" id="{F2D2D5CD-DAC9-10C8-2C56-D41A31ED78E4}"/>
                  </a:ext>
                </a:extLst>
              </p:cNvPr>
              <p:cNvCxnSpPr>
                <a:cxnSpLocks/>
              </p:cNvCxnSpPr>
              <p:nvPr/>
            </p:nvCxnSpPr>
            <p:spPr>
              <a:xfrm flipV="1">
                <a:off x="1646909" y="5688236"/>
                <a:ext cx="0" cy="526839"/>
              </a:xfrm>
              <a:prstGeom prst="straightConnector1">
                <a:avLst/>
              </a:prstGeom>
              <a:noFill/>
              <a:ln w="12700" cap="flat" cmpd="sng" algn="ctr">
                <a:solidFill>
                  <a:schemeClr val="accent1"/>
                </a:solidFill>
                <a:prstDash val="solid"/>
                <a:miter lim="800000"/>
                <a:tailEnd type="triangle"/>
              </a:ln>
              <a:effectLst/>
            </p:spPr>
          </p:cxnSp>
          <p:cxnSp>
            <p:nvCxnSpPr>
              <p:cNvPr id="64" name="Straight Arrow Connector 63">
                <a:extLst>
                  <a:ext uri="{FF2B5EF4-FFF2-40B4-BE49-F238E27FC236}">
                    <a16:creationId xmlns:a16="http://schemas.microsoft.com/office/drawing/2014/main" id="{31C5D5FE-B652-62EF-64DA-DC6691B74E56}"/>
                  </a:ext>
                </a:extLst>
              </p:cNvPr>
              <p:cNvCxnSpPr>
                <a:cxnSpLocks/>
              </p:cNvCxnSpPr>
              <p:nvPr/>
            </p:nvCxnSpPr>
            <p:spPr>
              <a:xfrm>
                <a:off x="1775970" y="5716084"/>
                <a:ext cx="0" cy="502648"/>
              </a:xfrm>
              <a:prstGeom prst="straightConnector1">
                <a:avLst/>
              </a:prstGeom>
              <a:noFill/>
              <a:ln w="12700" cap="flat" cmpd="sng" algn="ctr">
                <a:solidFill>
                  <a:schemeClr val="accent1"/>
                </a:solidFill>
                <a:prstDash val="sysDot"/>
                <a:miter lim="800000"/>
                <a:tailEnd type="triangle"/>
              </a:ln>
              <a:effectLst/>
            </p:spPr>
          </p:cxnSp>
        </p:grpSp>
      </p:grpSp>
      <p:grpSp>
        <p:nvGrpSpPr>
          <p:cNvPr id="66" name="Group 65">
            <a:extLst>
              <a:ext uri="{FF2B5EF4-FFF2-40B4-BE49-F238E27FC236}">
                <a16:creationId xmlns:a16="http://schemas.microsoft.com/office/drawing/2014/main" id="{E8BEB0B9-FC40-2060-364A-AA5843CBD33F}"/>
              </a:ext>
            </a:extLst>
          </p:cNvPr>
          <p:cNvGrpSpPr>
            <a:grpSpLocks noChangeAspect="1"/>
          </p:cNvGrpSpPr>
          <p:nvPr/>
        </p:nvGrpSpPr>
        <p:grpSpPr>
          <a:xfrm>
            <a:off x="2233928" y="2263943"/>
            <a:ext cx="307830" cy="530155"/>
            <a:chOff x="6945355" y="-903214"/>
            <a:chExt cx="311727" cy="536864"/>
          </a:xfrm>
          <a:solidFill>
            <a:schemeClr val="bg1"/>
          </a:solidFill>
        </p:grpSpPr>
        <p:sp>
          <p:nvSpPr>
            <p:cNvPr id="67" name="Freeform: Shape 269">
              <a:extLst>
                <a:ext uri="{FF2B5EF4-FFF2-40B4-BE49-F238E27FC236}">
                  <a16:creationId xmlns:a16="http://schemas.microsoft.com/office/drawing/2014/main" id="{DF9EC310-BA67-76F6-7667-7BB7F7563982}"/>
                </a:ext>
              </a:extLst>
            </p:cNvPr>
            <p:cNvSpPr/>
            <p:nvPr/>
          </p:nvSpPr>
          <p:spPr>
            <a:xfrm>
              <a:off x="6945355" y="-448611"/>
              <a:ext cx="311727" cy="82261"/>
            </a:xfrm>
            <a:custGeom>
              <a:avLst/>
              <a:gdLst>
                <a:gd name="connsiteX0" fmla="*/ 311727 w 311727"/>
                <a:gd name="connsiteY0" fmla="*/ 38966 h 82261"/>
                <a:gd name="connsiteX1" fmla="*/ 155864 w 311727"/>
                <a:gd name="connsiteY1" fmla="*/ 82261 h 82261"/>
                <a:gd name="connsiteX2" fmla="*/ 0 w 311727"/>
                <a:gd name="connsiteY2" fmla="*/ 38966 h 82261"/>
                <a:gd name="connsiteX3" fmla="*/ 86591 w 311727"/>
                <a:gd name="connsiteY3" fmla="*/ 0 h 82261"/>
                <a:gd name="connsiteX4" fmla="*/ 86591 w 311727"/>
                <a:gd name="connsiteY4" fmla="*/ 25977 h 82261"/>
                <a:gd name="connsiteX5" fmla="*/ 225136 w 311727"/>
                <a:gd name="connsiteY5" fmla="*/ 25977 h 82261"/>
                <a:gd name="connsiteX6" fmla="*/ 225136 w 311727"/>
                <a:gd name="connsiteY6" fmla="*/ 0 h 82261"/>
                <a:gd name="connsiteX7" fmla="*/ 311727 w 311727"/>
                <a:gd name="connsiteY7" fmla="*/ 38966 h 8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27" h="82261">
                  <a:moveTo>
                    <a:pt x="311727" y="38966"/>
                  </a:moveTo>
                  <a:cubicBezTo>
                    <a:pt x="311727" y="63211"/>
                    <a:pt x="241589" y="82261"/>
                    <a:pt x="155864" y="82261"/>
                  </a:cubicBezTo>
                  <a:cubicBezTo>
                    <a:pt x="70139" y="82261"/>
                    <a:pt x="0" y="63211"/>
                    <a:pt x="0" y="38966"/>
                  </a:cubicBezTo>
                  <a:cubicBezTo>
                    <a:pt x="0" y="21648"/>
                    <a:pt x="35502" y="6927"/>
                    <a:pt x="86591" y="0"/>
                  </a:cubicBezTo>
                  <a:lnTo>
                    <a:pt x="86591" y="25977"/>
                  </a:lnTo>
                  <a:lnTo>
                    <a:pt x="225136" y="25977"/>
                  </a:lnTo>
                  <a:lnTo>
                    <a:pt x="225136" y="0"/>
                  </a:lnTo>
                  <a:cubicBezTo>
                    <a:pt x="276225" y="6927"/>
                    <a:pt x="311727" y="21648"/>
                    <a:pt x="311727" y="38966"/>
                  </a:cubicBezTo>
                  <a:close/>
                </a:path>
              </a:pathLst>
            </a:custGeom>
            <a:solidFill>
              <a:schemeClr val="accent1"/>
            </a:solidFill>
            <a:ln w="8653" cap="flat">
              <a:noFill/>
              <a:prstDash val="solid"/>
              <a:miter/>
            </a:ln>
          </p:spPr>
          <p:txBody>
            <a:bodyPr rtlCol="0" anchor="ctr"/>
            <a:lstStyle/>
            <a:p>
              <a:endParaRPr lang="en-US" dirty="0"/>
            </a:p>
          </p:txBody>
        </p:sp>
        <p:sp>
          <p:nvSpPr>
            <p:cNvPr id="68" name="Freeform: Shape 438">
              <a:extLst>
                <a:ext uri="{FF2B5EF4-FFF2-40B4-BE49-F238E27FC236}">
                  <a16:creationId xmlns:a16="http://schemas.microsoft.com/office/drawing/2014/main" id="{C5C5E842-AF4A-7EF9-CC1A-B6D065FC0BFB}"/>
                </a:ext>
              </a:extLst>
            </p:cNvPr>
            <p:cNvSpPr/>
            <p:nvPr/>
          </p:nvSpPr>
          <p:spPr>
            <a:xfrm>
              <a:off x="6949685" y="-903214"/>
              <a:ext cx="303068" cy="493568"/>
            </a:xfrm>
            <a:custGeom>
              <a:avLst/>
              <a:gdLst>
                <a:gd name="connsiteX0" fmla="*/ 82261 w 303068"/>
                <a:gd name="connsiteY0" fmla="*/ 259773 h 493568"/>
                <a:gd name="connsiteX1" fmla="*/ 95249 w 303068"/>
                <a:gd name="connsiteY1" fmla="*/ 272762 h 493568"/>
                <a:gd name="connsiteX2" fmla="*/ 95249 w 303068"/>
                <a:gd name="connsiteY2" fmla="*/ 467591 h 493568"/>
                <a:gd name="connsiteX3" fmla="*/ 207817 w 303068"/>
                <a:gd name="connsiteY3" fmla="*/ 467591 h 493568"/>
                <a:gd name="connsiteX4" fmla="*/ 207817 w 303068"/>
                <a:gd name="connsiteY4" fmla="*/ 272762 h 493568"/>
                <a:gd name="connsiteX5" fmla="*/ 220806 w 303068"/>
                <a:gd name="connsiteY5" fmla="*/ 259773 h 493568"/>
                <a:gd name="connsiteX6" fmla="*/ 233795 w 303068"/>
                <a:gd name="connsiteY6" fmla="*/ 272762 h 493568"/>
                <a:gd name="connsiteX7" fmla="*/ 233795 w 303068"/>
                <a:gd name="connsiteY7" fmla="*/ 480580 h 493568"/>
                <a:gd name="connsiteX8" fmla="*/ 220806 w 303068"/>
                <a:gd name="connsiteY8" fmla="*/ 493568 h 493568"/>
                <a:gd name="connsiteX9" fmla="*/ 82261 w 303068"/>
                <a:gd name="connsiteY9" fmla="*/ 493568 h 493568"/>
                <a:gd name="connsiteX10" fmla="*/ 69272 w 303068"/>
                <a:gd name="connsiteY10" fmla="*/ 480580 h 493568"/>
                <a:gd name="connsiteX11" fmla="*/ 69272 w 303068"/>
                <a:gd name="connsiteY11" fmla="*/ 272762 h 493568"/>
                <a:gd name="connsiteX12" fmla="*/ 82261 w 303068"/>
                <a:gd name="connsiteY12" fmla="*/ 259773 h 493568"/>
                <a:gd name="connsiteX13" fmla="*/ 151534 w 303068"/>
                <a:gd name="connsiteY13" fmla="*/ 25977 h 493568"/>
                <a:gd name="connsiteX14" fmla="*/ 95250 w 303068"/>
                <a:gd name="connsiteY14" fmla="*/ 82261 h 493568"/>
                <a:gd name="connsiteX15" fmla="*/ 151534 w 303068"/>
                <a:gd name="connsiteY15" fmla="*/ 138545 h 493568"/>
                <a:gd name="connsiteX16" fmla="*/ 207818 w 303068"/>
                <a:gd name="connsiteY16" fmla="*/ 82261 h 493568"/>
                <a:gd name="connsiteX17" fmla="*/ 151534 w 303068"/>
                <a:gd name="connsiteY17" fmla="*/ 25977 h 493568"/>
                <a:gd name="connsiteX18" fmla="*/ 151534 w 303068"/>
                <a:gd name="connsiteY18" fmla="*/ 0 h 493568"/>
                <a:gd name="connsiteX19" fmla="*/ 233795 w 303068"/>
                <a:gd name="connsiteY19" fmla="*/ 82261 h 493568"/>
                <a:gd name="connsiteX20" fmla="*/ 204355 w 303068"/>
                <a:gd name="connsiteY20" fmla="*/ 145473 h 493568"/>
                <a:gd name="connsiteX21" fmla="*/ 303068 w 303068"/>
                <a:gd name="connsiteY21" fmla="*/ 247650 h 493568"/>
                <a:gd name="connsiteX22" fmla="*/ 303068 w 303068"/>
                <a:gd name="connsiteY22" fmla="*/ 359352 h 493568"/>
                <a:gd name="connsiteX23" fmla="*/ 290080 w 303068"/>
                <a:gd name="connsiteY23" fmla="*/ 372341 h 493568"/>
                <a:gd name="connsiteX24" fmla="*/ 277091 w 303068"/>
                <a:gd name="connsiteY24" fmla="*/ 359352 h 493568"/>
                <a:gd name="connsiteX25" fmla="*/ 277091 w 303068"/>
                <a:gd name="connsiteY25" fmla="*/ 247650 h 493568"/>
                <a:gd name="connsiteX26" fmla="*/ 151534 w 303068"/>
                <a:gd name="connsiteY26" fmla="*/ 164523 h 493568"/>
                <a:gd name="connsiteX27" fmla="*/ 25977 w 303068"/>
                <a:gd name="connsiteY27" fmla="*/ 247650 h 493568"/>
                <a:gd name="connsiteX28" fmla="*/ 25977 w 303068"/>
                <a:gd name="connsiteY28" fmla="*/ 359352 h 493568"/>
                <a:gd name="connsiteX29" fmla="*/ 12989 w 303068"/>
                <a:gd name="connsiteY29" fmla="*/ 372341 h 493568"/>
                <a:gd name="connsiteX30" fmla="*/ 0 w 303068"/>
                <a:gd name="connsiteY30" fmla="*/ 359352 h 493568"/>
                <a:gd name="connsiteX31" fmla="*/ 0 w 303068"/>
                <a:gd name="connsiteY31" fmla="*/ 247650 h 493568"/>
                <a:gd name="connsiteX32" fmla="*/ 98714 w 303068"/>
                <a:gd name="connsiteY32" fmla="*/ 145473 h 493568"/>
                <a:gd name="connsiteX33" fmla="*/ 69273 w 303068"/>
                <a:gd name="connsiteY33" fmla="*/ 82261 h 493568"/>
                <a:gd name="connsiteX34" fmla="*/ 151534 w 303068"/>
                <a:gd name="connsiteY34" fmla="*/ 0 h 49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3068" h="493568">
                  <a:moveTo>
                    <a:pt x="82261" y="259773"/>
                  </a:moveTo>
                  <a:cubicBezTo>
                    <a:pt x="89188" y="259773"/>
                    <a:pt x="95249" y="265834"/>
                    <a:pt x="95249" y="272762"/>
                  </a:cubicBezTo>
                  <a:lnTo>
                    <a:pt x="95249" y="467591"/>
                  </a:lnTo>
                  <a:lnTo>
                    <a:pt x="207817" y="467591"/>
                  </a:lnTo>
                  <a:lnTo>
                    <a:pt x="207817" y="272762"/>
                  </a:lnTo>
                  <a:cubicBezTo>
                    <a:pt x="207817" y="265834"/>
                    <a:pt x="213879" y="259773"/>
                    <a:pt x="220806" y="259773"/>
                  </a:cubicBezTo>
                  <a:cubicBezTo>
                    <a:pt x="227733" y="259773"/>
                    <a:pt x="233795" y="265834"/>
                    <a:pt x="233795" y="272762"/>
                  </a:cubicBezTo>
                  <a:lnTo>
                    <a:pt x="233795" y="480580"/>
                  </a:lnTo>
                  <a:cubicBezTo>
                    <a:pt x="233795" y="487507"/>
                    <a:pt x="227733" y="493568"/>
                    <a:pt x="220806" y="493568"/>
                  </a:cubicBezTo>
                  <a:lnTo>
                    <a:pt x="82261" y="493568"/>
                  </a:lnTo>
                  <a:cubicBezTo>
                    <a:pt x="75333" y="493568"/>
                    <a:pt x="69272" y="487507"/>
                    <a:pt x="69272" y="480580"/>
                  </a:cubicBezTo>
                  <a:lnTo>
                    <a:pt x="69272" y="272762"/>
                  </a:lnTo>
                  <a:cubicBezTo>
                    <a:pt x="69272" y="265834"/>
                    <a:pt x="75333" y="259773"/>
                    <a:pt x="82261" y="259773"/>
                  </a:cubicBezTo>
                  <a:close/>
                  <a:moveTo>
                    <a:pt x="151534" y="25977"/>
                  </a:moveTo>
                  <a:cubicBezTo>
                    <a:pt x="120361" y="25977"/>
                    <a:pt x="95250" y="51089"/>
                    <a:pt x="95250" y="82261"/>
                  </a:cubicBezTo>
                  <a:cubicBezTo>
                    <a:pt x="95250" y="113434"/>
                    <a:pt x="120361" y="138545"/>
                    <a:pt x="151534" y="138545"/>
                  </a:cubicBezTo>
                  <a:cubicBezTo>
                    <a:pt x="182707" y="138545"/>
                    <a:pt x="207818" y="113434"/>
                    <a:pt x="207818" y="82261"/>
                  </a:cubicBezTo>
                  <a:cubicBezTo>
                    <a:pt x="207818" y="51089"/>
                    <a:pt x="182707" y="25977"/>
                    <a:pt x="151534" y="25977"/>
                  </a:cubicBezTo>
                  <a:close/>
                  <a:moveTo>
                    <a:pt x="151534" y="0"/>
                  </a:moveTo>
                  <a:cubicBezTo>
                    <a:pt x="196561" y="0"/>
                    <a:pt x="233795" y="37234"/>
                    <a:pt x="233795" y="82261"/>
                  </a:cubicBezTo>
                  <a:cubicBezTo>
                    <a:pt x="233795" y="107373"/>
                    <a:pt x="222539" y="130752"/>
                    <a:pt x="204355" y="145473"/>
                  </a:cubicBezTo>
                  <a:cubicBezTo>
                    <a:pt x="261505" y="161059"/>
                    <a:pt x="303068" y="200891"/>
                    <a:pt x="303068" y="247650"/>
                  </a:cubicBezTo>
                  <a:lnTo>
                    <a:pt x="303068" y="359352"/>
                  </a:lnTo>
                  <a:cubicBezTo>
                    <a:pt x="303068" y="366279"/>
                    <a:pt x="297007" y="372341"/>
                    <a:pt x="290080" y="372341"/>
                  </a:cubicBezTo>
                  <a:cubicBezTo>
                    <a:pt x="283152" y="372341"/>
                    <a:pt x="277091" y="366279"/>
                    <a:pt x="277091" y="359352"/>
                  </a:cubicBezTo>
                  <a:lnTo>
                    <a:pt x="277091" y="247650"/>
                  </a:lnTo>
                  <a:cubicBezTo>
                    <a:pt x="277091" y="201757"/>
                    <a:pt x="220807" y="164523"/>
                    <a:pt x="151534" y="164523"/>
                  </a:cubicBezTo>
                  <a:cubicBezTo>
                    <a:pt x="82261" y="164523"/>
                    <a:pt x="25977" y="201757"/>
                    <a:pt x="25977" y="247650"/>
                  </a:cubicBezTo>
                  <a:lnTo>
                    <a:pt x="25977" y="359352"/>
                  </a:lnTo>
                  <a:cubicBezTo>
                    <a:pt x="25977" y="366279"/>
                    <a:pt x="19916" y="372341"/>
                    <a:pt x="12989" y="372341"/>
                  </a:cubicBezTo>
                  <a:cubicBezTo>
                    <a:pt x="6061" y="372341"/>
                    <a:pt x="0" y="366279"/>
                    <a:pt x="0" y="359352"/>
                  </a:cubicBezTo>
                  <a:lnTo>
                    <a:pt x="0" y="247650"/>
                  </a:lnTo>
                  <a:cubicBezTo>
                    <a:pt x="0" y="200891"/>
                    <a:pt x="40698" y="161059"/>
                    <a:pt x="98714" y="145473"/>
                  </a:cubicBezTo>
                  <a:cubicBezTo>
                    <a:pt x="80530" y="130752"/>
                    <a:pt x="69273" y="107373"/>
                    <a:pt x="69273" y="82261"/>
                  </a:cubicBezTo>
                  <a:cubicBezTo>
                    <a:pt x="69273" y="37234"/>
                    <a:pt x="106507" y="0"/>
                    <a:pt x="151534" y="0"/>
                  </a:cubicBezTo>
                  <a:close/>
                </a:path>
              </a:pathLst>
            </a:custGeom>
            <a:grpFill/>
            <a:ln w="8653" cap="flat">
              <a:noFill/>
              <a:prstDash val="solid"/>
              <a:miter/>
            </a:ln>
          </p:spPr>
          <p:txBody>
            <a:bodyPr rtlCol="0" anchor="ctr"/>
            <a:lstStyle/>
            <a:p>
              <a:endParaRPr lang="en-US" dirty="0"/>
            </a:p>
          </p:txBody>
        </p:sp>
      </p:grpSp>
      <p:sp>
        <p:nvSpPr>
          <p:cNvPr id="77" name="TextBox 76">
            <a:extLst>
              <a:ext uri="{FF2B5EF4-FFF2-40B4-BE49-F238E27FC236}">
                <a16:creationId xmlns:a16="http://schemas.microsoft.com/office/drawing/2014/main" id="{05597C09-EA6A-C0B2-6968-89D7CCCE28A0}"/>
              </a:ext>
            </a:extLst>
          </p:cNvPr>
          <p:cNvSpPr txBox="1"/>
          <p:nvPr/>
        </p:nvSpPr>
        <p:spPr>
          <a:xfrm>
            <a:off x="1838336" y="6424265"/>
            <a:ext cx="904597" cy="200055"/>
          </a:xfrm>
          <a:prstGeom prst="rect">
            <a:avLst/>
          </a:prstGeom>
          <a:noFill/>
        </p:spPr>
        <p:txBody>
          <a:bodyPr wrap="square">
            <a:spAutoFit/>
          </a:bodyPr>
          <a:lstStyle/>
          <a:p>
            <a:pPr algn="ctr"/>
            <a:r>
              <a:rPr lang="en-US" sz="700" dirty="0">
                <a:solidFill>
                  <a:schemeClr val="bg1"/>
                </a:solidFill>
              </a:rPr>
              <a:t>*Add-on SKU</a:t>
            </a:r>
          </a:p>
        </p:txBody>
      </p:sp>
      <p:sp>
        <p:nvSpPr>
          <p:cNvPr id="4" name="Rectangle 3">
            <a:extLst>
              <a:ext uri="{FF2B5EF4-FFF2-40B4-BE49-F238E27FC236}">
                <a16:creationId xmlns:a16="http://schemas.microsoft.com/office/drawing/2014/main" id="{9099B9E6-B5B6-7DFB-97D1-F60CAAF82E27}"/>
              </a:ext>
            </a:extLst>
          </p:cNvPr>
          <p:cNvSpPr/>
          <p:nvPr/>
        </p:nvSpPr>
        <p:spPr>
          <a:xfrm>
            <a:off x="988906" y="3245497"/>
            <a:ext cx="2839553" cy="3529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ServiceNow Sans Medium" panose="020B0704040101010104" pitchFamily="34" charset="0"/>
                <a:cs typeface="ServiceNow Sans Medium" panose="020B0704040101010104" pitchFamily="34" charset="0"/>
              </a:rPr>
              <a:t>Applicant Center</a:t>
            </a:r>
            <a:endParaRPr lang="en-US" sz="1600" dirty="0">
              <a:solidFill>
                <a:schemeClr val="tx1"/>
              </a:solidFill>
              <a:latin typeface="ServiceNow Sans Medium" panose="020B0704040101010104" pitchFamily="34" charset="0"/>
              <a:cs typeface="ServiceNow Sans" panose="020B0504040101010104" pitchFamily="34" charset="77"/>
            </a:endParaRPr>
          </a:p>
        </p:txBody>
      </p:sp>
      <p:sp>
        <p:nvSpPr>
          <p:cNvPr id="47" name="TextBox 141">
            <a:extLst>
              <a:ext uri="{FF2B5EF4-FFF2-40B4-BE49-F238E27FC236}">
                <a16:creationId xmlns:a16="http://schemas.microsoft.com/office/drawing/2014/main" id="{4C673222-1B04-2D3A-9A58-F882C4D524F0}"/>
              </a:ext>
            </a:extLst>
          </p:cNvPr>
          <p:cNvSpPr txBox="1"/>
          <p:nvPr/>
        </p:nvSpPr>
        <p:spPr>
          <a:xfrm>
            <a:off x="1238231" y="4840681"/>
            <a:ext cx="1084747" cy="30767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670" tIns="45670" rIns="45670" bIns="45670" numCol="1" anchor="t">
            <a:spAutoFit/>
          </a:bodyPr>
          <a:lstStyle>
            <a:lvl1pPr>
              <a:defRPr sz="1200">
                <a:solidFill>
                  <a:srgbClr val="293E40"/>
                </a:solidFill>
              </a:defRPr>
            </a:lvl1pPr>
          </a:lstStyle>
          <a:p>
            <a:pPr algn="ctr" defTabSz="456582"/>
            <a:r>
              <a:rPr lang="en-CA" sz="1400" dirty="0">
                <a:solidFill>
                  <a:srgbClr val="FFFFFF"/>
                </a:solidFill>
                <a:latin typeface="Century Gothic" panose="020F0302020204030204"/>
              </a:rPr>
              <a:t>Now Assist*</a:t>
            </a:r>
          </a:p>
        </p:txBody>
      </p:sp>
      <p:sp>
        <p:nvSpPr>
          <p:cNvPr id="82" name="Oval 145">
            <a:extLst>
              <a:ext uri="{FF2B5EF4-FFF2-40B4-BE49-F238E27FC236}">
                <a16:creationId xmlns:a16="http://schemas.microsoft.com/office/drawing/2014/main" id="{FABF448E-A641-9541-F7A8-8BF7CC4E87BA}"/>
              </a:ext>
            </a:extLst>
          </p:cNvPr>
          <p:cNvSpPr/>
          <p:nvPr/>
        </p:nvSpPr>
        <p:spPr>
          <a:xfrm>
            <a:off x="2032753" y="2175237"/>
            <a:ext cx="710180" cy="693128"/>
          </a:xfrm>
          <a:prstGeom prst="ellipse">
            <a:avLst/>
          </a:prstGeom>
          <a:noFill/>
          <a:ln w="25400" cap="flat">
            <a:solidFill>
              <a:schemeClr val="accent5"/>
            </a:solidFill>
            <a:prstDash val="solid"/>
            <a:miter lim="800000"/>
          </a:ln>
          <a:effectLst/>
        </p:spPr>
        <p:txBody>
          <a:bodyPr wrap="square" lIns="45670" tIns="45670" rIns="45670" bIns="45670" numCol="1" anchor="ctr">
            <a:noAutofit/>
          </a:bodyPr>
          <a:lstStyle/>
          <a:p>
            <a:pPr defTabSz="456582">
              <a:defRPr>
                <a:solidFill>
                  <a:srgbClr val="FFFFFF"/>
                </a:solidFill>
              </a:defRPr>
            </a:pPr>
            <a:endParaRPr sz="1698" dirty="0">
              <a:solidFill>
                <a:srgbClr val="FFFFFF"/>
              </a:solidFill>
              <a:latin typeface="Century Gothic" panose="020F0302020204030204"/>
            </a:endParaRPr>
          </a:p>
        </p:txBody>
      </p:sp>
      <p:sp>
        <p:nvSpPr>
          <p:cNvPr id="83" name="Oval 145">
            <a:extLst>
              <a:ext uri="{FF2B5EF4-FFF2-40B4-BE49-F238E27FC236}">
                <a16:creationId xmlns:a16="http://schemas.microsoft.com/office/drawing/2014/main" id="{30F70A37-34C7-DEEE-574B-7E0E70AFBDC1}"/>
              </a:ext>
            </a:extLst>
          </p:cNvPr>
          <p:cNvSpPr/>
          <p:nvPr/>
        </p:nvSpPr>
        <p:spPr>
          <a:xfrm>
            <a:off x="9003267" y="2174376"/>
            <a:ext cx="710180" cy="693128"/>
          </a:xfrm>
          <a:prstGeom prst="ellipse">
            <a:avLst/>
          </a:prstGeom>
          <a:noFill/>
          <a:ln w="25400" cap="flat">
            <a:solidFill>
              <a:schemeClr val="accent3"/>
            </a:solidFill>
            <a:prstDash val="solid"/>
            <a:miter lim="800000"/>
          </a:ln>
          <a:effectLst/>
        </p:spPr>
        <p:txBody>
          <a:bodyPr wrap="square" lIns="45670" tIns="45670" rIns="45670" bIns="45670" numCol="1" anchor="ctr">
            <a:noAutofit/>
          </a:bodyPr>
          <a:lstStyle/>
          <a:p>
            <a:pPr defTabSz="456582">
              <a:defRPr>
                <a:solidFill>
                  <a:srgbClr val="FFFFFF"/>
                </a:solidFill>
              </a:defRPr>
            </a:pPr>
            <a:endParaRPr sz="1698" dirty="0">
              <a:solidFill>
                <a:srgbClr val="FFFFFF"/>
              </a:solidFill>
              <a:latin typeface="Century Gothic" panose="020F0302020204030204"/>
            </a:endParaRPr>
          </a:p>
        </p:txBody>
      </p:sp>
      <p:grpSp>
        <p:nvGrpSpPr>
          <p:cNvPr id="85" name="Group 84">
            <a:extLst>
              <a:ext uri="{FF2B5EF4-FFF2-40B4-BE49-F238E27FC236}">
                <a16:creationId xmlns:a16="http://schemas.microsoft.com/office/drawing/2014/main" id="{DE48D089-5DDF-0F72-C93C-76F4753262CA}"/>
              </a:ext>
            </a:extLst>
          </p:cNvPr>
          <p:cNvGrpSpPr>
            <a:grpSpLocks noChangeAspect="1"/>
          </p:cNvGrpSpPr>
          <p:nvPr/>
        </p:nvGrpSpPr>
        <p:grpSpPr>
          <a:xfrm>
            <a:off x="9157495" y="2303044"/>
            <a:ext cx="435591" cy="414850"/>
            <a:chOff x="8478199" y="7005413"/>
            <a:chExt cx="545522" cy="519546"/>
          </a:xfrm>
          <a:solidFill>
            <a:schemeClr val="bg1"/>
          </a:solidFill>
        </p:grpSpPr>
        <p:sp>
          <p:nvSpPr>
            <p:cNvPr id="86" name="Freeform: Shape 607">
              <a:extLst>
                <a:ext uri="{FF2B5EF4-FFF2-40B4-BE49-F238E27FC236}">
                  <a16:creationId xmlns:a16="http://schemas.microsoft.com/office/drawing/2014/main" id="{02F8E398-115B-85EB-CB13-3880E4CF4AC8}"/>
                </a:ext>
              </a:extLst>
            </p:cNvPr>
            <p:cNvSpPr/>
            <p:nvPr/>
          </p:nvSpPr>
          <p:spPr>
            <a:xfrm>
              <a:off x="8478199" y="7005413"/>
              <a:ext cx="391499" cy="441614"/>
            </a:xfrm>
            <a:custGeom>
              <a:avLst/>
              <a:gdLst>
                <a:gd name="connsiteX0" fmla="*/ 155864 w 391499"/>
                <a:gd name="connsiteY0" fmla="*/ 221673 h 441614"/>
                <a:gd name="connsiteX1" fmla="*/ 171450 w 391499"/>
                <a:gd name="connsiteY1" fmla="*/ 226869 h 441614"/>
                <a:gd name="connsiteX2" fmla="*/ 238991 w 391499"/>
                <a:gd name="connsiteY2" fmla="*/ 335107 h 441614"/>
                <a:gd name="connsiteX3" fmla="*/ 306532 w 391499"/>
                <a:gd name="connsiteY3" fmla="*/ 226869 h 441614"/>
                <a:gd name="connsiteX4" fmla="*/ 322118 w 391499"/>
                <a:gd name="connsiteY4" fmla="*/ 221673 h 441614"/>
                <a:gd name="connsiteX5" fmla="*/ 386196 w 391499"/>
                <a:gd name="connsiteY5" fmla="*/ 254578 h 441614"/>
                <a:gd name="connsiteX6" fmla="*/ 388793 w 391499"/>
                <a:gd name="connsiteY6" fmla="*/ 272762 h 441614"/>
                <a:gd name="connsiteX7" fmla="*/ 370609 w 391499"/>
                <a:gd name="connsiteY7" fmla="*/ 275360 h 441614"/>
                <a:gd name="connsiteX8" fmla="*/ 322984 w 391499"/>
                <a:gd name="connsiteY8" fmla="*/ 249382 h 441614"/>
                <a:gd name="connsiteX9" fmla="*/ 250248 w 391499"/>
                <a:gd name="connsiteY9" fmla="*/ 366280 h 441614"/>
                <a:gd name="connsiteX10" fmla="*/ 238991 w 391499"/>
                <a:gd name="connsiteY10" fmla="*/ 372341 h 441614"/>
                <a:gd name="connsiteX11" fmla="*/ 227734 w 391499"/>
                <a:gd name="connsiteY11" fmla="*/ 366280 h 441614"/>
                <a:gd name="connsiteX12" fmla="*/ 154998 w 391499"/>
                <a:gd name="connsiteY12" fmla="*/ 249382 h 441614"/>
                <a:gd name="connsiteX13" fmla="*/ 26843 w 391499"/>
                <a:gd name="connsiteY13" fmla="*/ 428626 h 441614"/>
                <a:gd name="connsiteX14" fmla="*/ 12989 w 391499"/>
                <a:gd name="connsiteY14" fmla="*/ 441614 h 441614"/>
                <a:gd name="connsiteX15" fmla="*/ 0 w 391499"/>
                <a:gd name="connsiteY15" fmla="*/ 428626 h 441614"/>
                <a:gd name="connsiteX16" fmla="*/ 155864 w 391499"/>
                <a:gd name="connsiteY16" fmla="*/ 221673 h 441614"/>
                <a:gd name="connsiteX17" fmla="*/ 238125 w 391499"/>
                <a:gd name="connsiteY17" fmla="*/ 25977 h 441614"/>
                <a:gd name="connsiteX18" fmla="*/ 155863 w 391499"/>
                <a:gd name="connsiteY18" fmla="*/ 108239 h 441614"/>
                <a:gd name="connsiteX19" fmla="*/ 238125 w 391499"/>
                <a:gd name="connsiteY19" fmla="*/ 190500 h 441614"/>
                <a:gd name="connsiteX20" fmla="*/ 320386 w 391499"/>
                <a:gd name="connsiteY20" fmla="*/ 108239 h 441614"/>
                <a:gd name="connsiteX21" fmla="*/ 238125 w 391499"/>
                <a:gd name="connsiteY21" fmla="*/ 25977 h 441614"/>
                <a:gd name="connsiteX22" fmla="*/ 238125 w 391499"/>
                <a:gd name="connsiteY22" fmla="*/ 0 h 441614"/>
                <a:gd name="connsiteX23" fmla="*/ 346363 w 391499"/>
                <a:gd name="connsiteY23" fmla="*/ 108239 h 441614"/>
                <a:gd name="connsiteX24" fmla="*/ 238125 w 391499"/>
                <a:gd name="connsiteY24" fmla="*/ 216477 h 441614"/>
                <a:gd name="connsiteX25" fmla="*/ 129886 w 391499"/>
                <a:gd name="connsiteY25" fmla="*/ 108239 h 441614"/>
                <a:gd name="connsiteX26" fmla="*/ 238125 w 391499"/>
                <a:gd name="connsiteY26" fmla="*/ 0 h 44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1499" h="441614">
                  <a:moveTo>
                    <a:pt x="155864" y="221673"/>
                  </a:moveTo>
                  <a:cubicBezTo>
                    <a:pt x="161925" y="219941"/>
                    <a:pt x="167986" y="221673"/>
                    <a:pt x="171450" y="226869"/>
                  </a:cubicBezTo>
                  <a:lnTo>
                    <a:pt x="238991" y="335107"/>
                  </a:lnTo>
                  <a:lnTo>
                    <a:pt x="306532" y="226869"/>
                  </a:lnTo>
                  <a:cubicBezTo>
                    <a:pt x="309996" y="221673"/>
                    <a:pt x="316057" y="219075"/>
                    <a:pt x="322118" y="221673"/>
                  </a:cubicBezTo>
                  <a:cubicBezTo>
                    <a:pt x="344632" y="229466"/>
                    <a:pt x="366280" y="240723"/>
                    <a:pt x="386196" y="254578"/>
                  </a:cubicBezTo>
                  <a:cubicBezTo>
                    <a:pt x="392257" y="258907"/>
                    <a:pt x="393123" y="266700"/>
                    <a:pt x="388793" y="272762"/>
                  </a:cubicBezTo>
                  <a:cubicBezTo>
                    <a:pt x="384464" y="278823"/>
                    <a:pt x="376670" y="279689"/>
                    <a:pt x="370609" y="275360"/>
                  </a:cubicBezTo>
                  <a:cubicBezTo>
                    <a:pt x="355889" y="264969"/>
                    <a:pt x="340302" y="255444"/>
                    <a:pt x="322984" y="249382"/>
                  </a:cubicBezTo>
                  <a:lnTo>
                    <a:pt x="250248" y="366280"/>
                  </a:lnTo>
                  <a:cubicBezTo>
                    <a:pt x="247650" y="369744"/>
                    <a:pt x="243321" y="372341"/>
                    <a:pt x="238991" y="372341"/>
                  </a:cubicBezTo>
                  <a:cubicBezTo>
                    <a:pt x="234661" y="372341"/>
                    <a:pt x="230332" y="369744"/>
                    <a:pt x="227734" y="366280"/>
                  </a:cubicBezTo>
                  <a:lnTo>
                    <a:pt x="154998" y="249382"/>
                  </a:lnTo>
                  <a:cubicBezTo>
                    <a:pt x="77932" y="279689"/>
                    <a:pt x="26843" y="350694"/>
                    <a:pt x="26843" y="428626"/>
                  </a:cubicBezTo>
                  <a:cubicBezTo>
                    <a:pt x="25977" y="435553"/>
                    <a:pt x="19916" y="441614"/>
                    <a:pt x="12989" y="441614"/>
                  </a:cubicBezTo>
                  <a:cubicBezTo>
                    <a:pt x="6061" y="441614"/>
                    <a:pt x="0" y="435553"/>
                    <a:pt x="0" y="428626"/>
                  </a:cubicBezTo>
                  <a:cubicBezTo>
                    <a:pt x="0" y="336839"/>
                    <a:pt x="62345" y="253712"/>
                    <a:pt x="155864" y="221673"/>
                  </a:cubicBezTo>
                  <a:close/>
                  <a:moveTo>
                    <a:pt x="238125" y="25977"/>
                  </a:moveTo>
                  <a:cubicBezTo>
                    <a:pt x="193097" y="25977"/>
                    <a:pt x="155863" y="63211"/>
                    <a:pt x="155863" y="108239"/>
                  </a:cubicBezTo>
                  <a:cubicBezTo>
                    <a:pt x="155863" y="153266"/>
                    <a:pt x="193097" y="190500"/>
                    <a:pt x="238125" y="190500"/>
                  </a:cubicBezTo>
                  <a:cubicBezTo>
                    <a:pt x="283152" y="190500"/>
                    <a:pt x="320386" y="153266"/>
                    <a:pt x="320386" y="108239"/>
                  </a:cubicBezTo>
                  <a:cubicBezTo>
                    <a:pt x="320386" y="63211"/>
                    <a:pt x="283152" y="25977"/>
                    <a:pt x="238125" y="25977"/>
                  </a:cubicBezTo>
                  <a:close/>
                  <a:moveTo>
                    <a:pt x="238125" y="0"/>
                  </a:moveTo>
                  <a:cubicBezTo>
                    <a:pt x="297872" y="0"/>
                    <a:pt x="346363" y="48491"/>
                    <a:pt x="346363" y="108239"/>
                  </a:cubicBezTo>
                  <a:cubicBezTo>
                    <a:pt x="346363" y="167986"/>
                    <a:pt x="297007" y="216477"/>
                    <a:pt x="238125" y="216477"/>
                  </a:cubicBezTo>
                  <a:cubicBezTo>
                    <a:pt x="178377" y="216477"/>
                    <a:pt x="129886" y="167986"/>
                    <a:pt x="129886" y="108239"/>
                  </a:cubicBezTo>
                  <a:cubicBezTo>
                    <a:pt x="129886" y="48491"/>
                    <a:pt x="178377" y="0"/>
                    <a:pt x="238125" y="0"/>
                  </a:cubicBezTo>
                  <a:close/>
                </a:path>
              </a:pathLst>
            </a:custGeom>
            <a:grpFill/>
            <a:ln w="8653" cap="flat">
              <a:noFill/>
              <a:prstDash val="solid"/>
              <a:miter/>
            </a:ln>
          </p:spPr>
          <p:txBody>
            <a:bodyPr rtlCol="0" anchor="ctr"/>
            <a:lstStyle/>
            <a:p>
              <a:endParaRPr lang="en-US" dirty="0"/>
            </a:p>
          </p:txBody>
        </p:sp>
        <p:sp>
          <p:nvSpPr>
            <p:cNvPr id="87" name="Freeform: Shape 584">
              <a:extLst>
                <a:ext uri="{FF2B5EF4-FFF2-40B4-BE49-F238E27FC236}">
                  <a16:creationId xmlns:a16="http://schemas.microsoft.com/office/drawing/2014/main" id="{831D12C9-7D80-CBBF-8749-F6F2DAD07652}"/>
                </a:ext>
              </a:extLst>
            </p:cNvPr>
            <p:cNvSpPr/>
            <p:nvPr/>
          </p:nvSpPr>
          <p:spPr>
            <a:xfrm>
              <a:off x="8789926" y="7291164"/>
              <a:ext cx="233795" cy="233795"/>
            </a:xfrm>
            <a:custGeom>
              <a:avLst/>
              <a:gdLst>
                <a:gd name="connsiteX0" fmla="*/ 116898 w 233795"/>
                <a:gd name="connsiteY0" fmla="*/ 0 h 233795"/>
                <a:gd name="connsiteX1" fmla="*/ 0 w 233795"/>
                <a:gd name="connsiteY1" fmla="*/ 116898 h 233795"/>
                <a:gd name="connsiteX2" fmla="*/ 116898 w 233795"/>
                <a:gd name="connsiteY2" fmla="*/ 233795 h 233795"/>
                <a:gd name="connsiteX3" fmla="*/ 233795 w 233795"/>
                <a:gd name="connsiteY3" fmla="*/ 116898 h 233795"/>
                <a:gd name="connsiteX4" fmla="*/ 116898 w 233795"/>
                <a:gd name="connsiteY4" fmla="*/ 0 h 233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95" h="233795">
                  <a:moveTo>
                    <a:pt x="116898" y="0"/>
                  </a:moveTo>
                  <a:cubicBezTo>
                    <a:pt x="51955" y="0"/>
                    <a:pt x="0" y="51955"/>
                    <a:pt x="0" y="116898"/>
                  </a:cubicBezTo>
                  <a:cubicBezTo>
                    <a:pt x="0" y="181841"/>
                    <a:pt x="51955" y="233795"/>
                    <a:pt x="116898" y="233795"/>
                  </a:cubicBezTo>
                  <a:cubicBezTo>
                    <a:pt x="181841" y="233795"/>
                    <a:pt x="233795" y="181841"/>
                    <a:pt x="233795" y="116898"/>
                  </a:cubicBezTo>
                  <a:cubicBezTo>
                    <a:pt x="232930" y="52820"/>
                    <a:pt x="180975" y="0"/>
                    <a:pt x="116898" y="0"/>
                  </a:cubicBezTo>
                  <a:close/>
                </a:path>
              </a:pathLst>
            </a:custGeom>
            <a:solidFill>
              <a:schemeClr val="accent1"/>
            </a:solidFill>
            <a:ln w="8653" cap="flat">
              <a:noFill/>
              <a:prstDash val="solid"/>
              <a:miter/>
            </a:ln>
          </p:spPr>
          <p:txBody>
            <a:bodyPr rtlCol="0" anchor="ctr"/>
            <a:lstStyle/>
            <a:p>
              <a:endParaRPr lang="en-US" dirty="0"/>
            </a:p>
          </p:txBody>
        </p:sp>
        <p:sp>
          <p:nvSpPr>
            <p:cNvPr id="88" name="Freeform: Shape 585">
              <a:extLst>
                <a:ext uri="{FF2B5EF4-FFF2-40B4-BE49-F238E27FC236}">
                  <a16:creationId xmlns:a16="http://schemas.microsoft.com/office/drawing/2014/main" id="{3BAEBA47-B02E-0F55-2DFC-D2F7507AAA56}"/>
                </a:ext>
              </a:extLst>
            </p:cNvPr>
            <p:cNvSpPr/>
            <p:nvPr/>
          </p:nvSpPr>
          <p:spPr>
            <a:xfrm>
              <a:off x="8849647" y="7354947"/>
              <a:ext cx="120682" cy="110264"/>
            </a:xfrm>
            <a:custGeom>
              <a:avLst/>
              <a:gdLst>
                <a:gd name="connsiteX0" fmla="*/ 46786 w 120682"/>
                <a:gd name="connsiteY0" fmla="*/ 109399 h 110264"/>
                <a:gd name="connsiteX1" fmla="*/ 38127 w 120682"/>
                <a:gd name="connsiteY1" fmla="*/ 105935 h 110264"/>
                <a:gd name="connsiteX2" fmla="*/ 4357 w 120682"/>
                <a:gd name="connsiteY2" fmla="*/ 76494 h 110264"/>
                <a:gd name="connsiteX3" fmla="*/ 3491 w 120682"/>
                <a:gd name="connsiteY3" fmla="*/ 58310 h 110264"/>
                <a:gd name="connsiteX4" fmla="*/ 21675 w 120682"/>
                <a:gd name="connsiteY4" fmla="*/ 57444 h 110264"/>
                <a:gd name="connsiteX5" fmla="*/ 45054 w 120682"/>
                <a:gd name="connsiteY5" fmla="*/ 78226 h 110264"/>
                <a:gd name="connsiteX6" fmla="*/ 97009 w 120682"/>
                <a:gd name="connsiteY6" fmla="*/ 5490 h 110264"/>
                <a:gd name="connsiteX7" fmla="*/ 115193 w 120682"/>
                <a:gd name="connsiteY7" fmla="*/ 2026 h 110264"/>
                <a:gd name="connsiteX8" fmla="*/ 118657 w 120682"/>
                <a:gd name="connsiteY8" fmla="*/ 20210 h 110264"/>
                <a:gd name="connsiteX9" fmla="*/ 58043 w 120682"/>
                <a:gd name="connsiteY9" fmla="*/ 105069 h 110264"/>
                <a:gd name="connsiteX10" fmla="*/ 49384 w 120682"/>
                <a:gd name="connsiteY10" fmla="*/ 110264 h 110264"/>
                <a:gd name="connsiteX11" fmla="*/ 46786 w 120682"/>
                <a:gd name="connsiteY11" fmla="*/ 109399 h 11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682" h="110264">
                  <a:moveTo>
                    <a:pt x="46786" y="109399"/>
                  </a:moveTo>
                  <a:cubicBezTo>
                    <a:pt x="43322" y="109399"/>
                    <a:pt x="40725" y="108533"/>
                    <a:pt x="38127" y="105935"/>
                  </a:cubicBezTo>
                  <a:lnTo>
                    <a:pt x="4357" y="76494"/>
                  </a:lnTo>
                  <a:cubicBezTo>
                    <a:pt x="-839" y="71299"/>
                    <a:pt x="-1705" y="63505"/>
                    <a:pt x="3491" y="58310"/>
                  </a:cubicBezTo>
                  <a:cubicBezTo>
                    <a:pt x="7820" y="53115"/>
                    <a:pt x="16479" y="52249"/>
                    <a:pt x="21675" y="57444"/>
                  </a:cubicBezTo>
                  <a:lnTo>
                    <a:pt x="45054" y="78226"/>
                  </a:lnTo>
                  <a:lnTo>
                    <a:pt x="97009" y="5490"/>
                  </a:lnTo>
                  <a:cubicBezTo>
                    <a:pt x="101338" y="-572"/>
                    <a:pt x="109131" y="-1438"/>
                    <a:pt x="115193" y="2026"/>
                  </a:cubicBezTo>
                  <a:cubicBezTo>
                    <a:pt x="121254" y="6355"/>
                    <a:pt x="122120" y="14149"/>
                    <a:pt x="118657" y="20210"/>
                  </a:cubicBezTo>
                  <a:lnTo>
                    <a:pt x="58043" y="105069"/>
                  </a:lnTo>
                  <a:cubicBezTo>
                    <a:pt x="56311" y="107667"/>
                    <a:pt x="52847" y="110264"/>
                    <a:pt x="49384" y="110264"/>
                  </a:cubicBezTo>
                  <a:lnTo>
                    <a:pt x="46786" y="109399"/>
                  </a:lnTo>
                  <a:close/>
                </a:path>
              </a:pathLst>
            </a:custGeom>
            <a:solidFill>
              <a:schemeClr val="tx2"/>
            </a:solidFill>
            <a:ln w="8653" cap="flat">
              <a:noFill/>
              <a:prstDash val="solid"/>
              <a:miter/>
            </a:ln>
          </p:spPr>
          <p:txBody>
            <a:bodyPr rtlCol="0" anchor="ctr"/>
            <a:lstStyle/>
            <a:p>
              <a:endParaRPr lang="en-US" dirty="0"/>
            </a:p>
          </p:txBody>
        </p:sp>
      </p:grpSp>
      <p:sp>
        <p:nvSpPr>
          <p:cNvPr id="89" name="TextBox 88">
            <a:extLst>
              <a:ext uri="{FF2B5EF4-FFF2-40B4-BE49-F238E27FC236}">
                <a16:creationId xmlns:a16="http://schemas.microsoft.com/office/drawing/2014/main" id="{772201C6-63E1-B203-00CD-A064D0B7BAD8}"/>
              </a:ext>
            </a:extLst>
          </p:cNvPr>
          <p:cNvSpPr txBox="1"/>
          <p:nvPr/>
        </p:nvSpPr>
        <p:spPr>
          <a:xfrm>
            <a:off x="8559327" y="2901470"/>
            <a:ext cx="1668261" cy="307777"/>
          </a:xfrm>
          <a:prstGeom prst="rect">
            <a:avLst/>
          </a:prstGeom>
          <a:noFill/>
        </p:spPr>
        <p:txBody>
          <a:bodyPr wrap="square" rtlCol="0">
            <a:spAutoFit/>
          </a:bodyPr>
          <a:lstStyle/>
          <a:p>
            <a:pPr algn="ctr"/>
            <a:r>
              <a:rPr lang="en-US" sz="1400" b="1" dirty="0">
                <a:solidFill>
                  <a:schemeClr val="bg1"/>
                </a:solidFill>
              </a:rPr>
              <a:t>Hiring Manager</a:t>
            </a:r>
          </a:p>
        </p:txBody>
      </p:sp>
      <p:sp>
        <p:nvSpPr>
          <p:cNvPr id="90" name="TextBox 89">
            <a:extLst>
              <a:ext uri="{FF2B5EF4-FFF2-40B4-BE49-F238E27FC236}">
                <a16:creationId xmlns:a16="http://schemas.microsoft.com/office/drawing/2014/main" id="{4EE882D8-1DDE-62F0-C778-E08A63370E0D}"/>
              </a:ext>
            </a:extLst>
          </p:cNvPr>
          <p:cNvSpPr txBox="1"/>
          <p:nvPr/>
        </p:nvSpPr>
        <p:spPr>
          <a:xfrm>
            <a:off x="5209186" y="2201757"/>
            <a:ext cx="1349304" cy="307777"/>
          </a:xfrm>
          <a:prstGeom prst="rect">
            <a:avLst/>
          </a:prstGeom>
          <a:noFill/>
        </p:spPr>
        <p:txBody>
          <a:bodyPr wrap="square" rtlCol="0">
            <a:spAutoFit/>
          </a:bodyPr>
          <a:lstStyle/>
          <a:p>
            <a:pPr algn="ctr"/>
            <a:r>
              <a:rPr lang="en-US" sz="1400" b="1" dirty="0">
                <a:solidFill>
                  <a:schemeClr val="bg1"/>
                </a:solidFill>
              </a:rPr>
              <a:t>Recruiter</a:t>
            </a:r>
          </a:p>
        </p:txBody>
      </p:sp>
      <p:grpSp>
        <p:nvGrpSpPr>
          <p:cNvPr id="91" name="Group 90">
            <a:extLst>
              <a:ext uri="{FF2B5EF4-FFF2-40B4-BE49-F238E27FC236}">
                <a16:creationId xmlns:a16="http://schemas.microsoft.com/office/drawing/2014/main" id="{548D1E8C-DB21-DA71-EC28-114C8DF2B60F}"/>
              </a:ext>
            </a:extLst>
          </p:cNvPr>
          <p:cNvGrpSpPr>
            <a:grpSpLocks noChangeAspect="1"/>
          </p:cNvGrpSpPr>
          <p:nvPr/>
        </p:nvGrpSpPr>
        <p:grpSpPr>
          <a:xfrm>
            <a:off x="5634605" y="1602325"/>
            <a:ext cx="447663" cy="456472"/>
            <a:chOff x="8723071" y="-1846446"/>
            <a:chExt cx="484043" cy="493569"/>
          </a:xfrm>
          <a:solidFill>
            <a:schemeClr val="bg1"/>
          </a:solidFill>
        </p:grpSpPr>
        <p:sp>
          <p:nvSpPr>
            <p:cNvPr id="92" name="Freeform: Shape 304">
              <a:extLst>
                <a:ext uri="{FF2B5EF4-FFF2-40B4-BE49-F238E27FC236}">
                  <a16:creationId xmlns:a16="http://schemas.microsoft.com/office/drawing/2014/main" id="{DB17D703-F8A5-DD6F-DD45-EBB13E45EE66}"/>
                </a:ext>
              </a:extLst>
            </p:cNvPr>
            <p:cNvSpPr/>
            <p:nvPr/>
          </p:nvSpPr>
          <p:spPr>
            <a:xfrm>
              <a:off x="8901448" y="-1555500"/>
              <a:ext cx="132503" cy="63211"/>
            </a:xfrm>
            <a:custGeom>
              <a:avLst/>
              <a:gdLst>
                <a:gd name="connsiteX0" fmla="*/ 66675 w 132503"/>
                <a:gd name="connsiteY0" fmla="*/ 63211 h 63211"/>
                <a:gd name="connsiteX1" fmla="*/ 0 w 132503"/>
                <a:gd name="connsiteY1" fmla="*/ 7793 h 63211"/>
                <a:gd name="connsiteX2" fmla="*/ 9525 w 132503"/>
                <a:gd name="connsiteY2" fmla="*/ 0 h 63211"/>
                <a:gd name="connsiteX3" fmla="*/ 122959 w 132503"/>
                <a:gd name="connsiteY3" fmla="*/ 0 h 63211"/>
                <a:gd name="connsiteX4" fmla="*/ 132485 w 132503"/>
                <a:gd name="connsiteY4" fmla="*/ 7793 h 63211"/>
                <a:gd name="connsiteX5" fmla="*/ 66675 w 132503"/>
                <a:gd name="connsiteY5" fmla="*/ 63211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 h="63211">
                  <a:moveTo>
                    <a:pt x="66675" y="63211"/>
                  </a:moveTo>
                  <a:cubicBezTo>
                    <a:pt x="30307" y="63211"/>
                    <a:pt x="0" y="38100"/>
                    <a:pt x="0" y="7793"/>
                  </a:cubicBezTo>
                  <a:cubicBezTo>
                    <a:pt x="0" y="3464"/>
                    <a:pt x="4330" y="0"/>
                    <a:pt x="9525" y="0"/>
                  </a:cubicBezTo>
                  <a:lnTo>
                    <a:pt x="122959" y="0"/>
                  </a:lnTo>
                  <a:cubicBezTo>
                    <a:pt x="128155" y="0"/>
                    <a:pt x="132485" y="3464"/>
                    <a:pt x="132485" y="7793"/>
                  </a:cubicBezTo>
                  <a:cubicBezTo>
                    <a:pt x="133350" y="38100"/>
                    <a:pt x="103909" y="63211"/>
                    <a:pt x="66675" y="63211"/>
                  </a:cubicBezTo>
                  <a:close/>
                </a:path>
              </a:pathLst>
            </a:custGeom>
            <a:solidFill>
              <a:schemeClr val="accent1"/>
            </a:solidFill>
            <a:ln w="8653" cap="flat">
              <a:noFill/>
              <a:prstDash val="solid"/>
              <a:miter/>
            </a:ln>
          </p:spPr>
          <p:txBody>
            <a:bodyPr rtlCol="0" anchor="ctr"/>
            <a:lstStyle/>
            <a:p>
              <a:endParaRPr lang="en-US" dirty="0"/>
            </a:p>
          </p:txBody>
        </p:sp>
        <p:sp>
          <p:nvSpPr>
            <p:cNvPr id="93" name="Freeform: Shape 379">
              <a:extLst>
                <a:ext uri="{FF2B5EF4-FFF2-40B4-BE49-F238E27FC236}">
                  <a16:creationId xmlns:a16="http://schemas.microsoft.com/office/drawing/2014/main" id="{9D7A0231-3624-CE4F-8925-9ED8448EA566}"/>
                </a:ext>
              </a:extLst>
            </p:cNvPr>
            <p:cNvSpPr/>
            <p:nvPr/>
          </p:nvSpPr>
          <p:spPr>
            <a:xfrm>
              <a:off x="8723071" y="-1846446"/>
              <a:ext cx="484043" cy="493569"/>
            </a:xfrm>
            <a:custGeom>
              <a:avLst/>
              <a:gdLst>
                <a:gd name="connsiteX0" fmla="*/ 225137 w 484043"/>
                <a:gd name="connsiteY0" fmla="*/ 424296 h 493569"/>
                <a:gd name="connsiteX1" fmla="*/ 190500 w 484043"/>
                <a:gd name="connsiteY1" fmla="*/ 458933 h 493569"/>
                <a:gd name="connsiteX2" fmla="*/ 190500 w 484043"/>
                <a:gd name="connsiteY2" fmla="*/ 476251 h 493569"/>
                <a:gd name="connsiteX3" fmla="*/ 215611 w 484043"/>
                <a:gd name="connsiteY3" fmla="*/ 476251 h 493569"/>
                <a:gd name="connsiteX4" fmla="*/ 215611 w 484043"/>
                <a:gd name="connsiteY4" fmla="*/ 476250 h 493569"/>
                <a:gd name="connsiteX5" fmla="*/ 265834 w 484043"/>
                <a:gd name="connsiteY5" fmla="*/ 476250 h 493569"/>
                <a:gd name="connsiteX6" fmla="*/ 266699 w 484043"/>
                <a:gd name="connsiteY6" fmla="*/ 476250 h 493569"/>
                <a:gd name="connsiteX7" fmla="*/ 285750 w 484043"/>
                <a:gd name="connsiteY7" fmla="*/ 474379 h 493569"/>
                <a:gd name="connsiteX8" fmla="*/ 285750 w 484043"/>
                <a:gd name="connsiteY8" fmla="*/ 458933 h 493569"/>
                <a:gd name="connsiteX9" fmla="*/ 251114 w 484043"/>
                <a:gd name="connsiteY9" fmla="*/ 424296 h 493569"/>
                <a:gd name="connsiteX10" fmla="*/ 414770 w 484043"/>
                <a:gd name="connsiteY10" fmla="*/ 164523 h 493569"/>
                <a:gd name="connsiteX11" fmla="*/ 414770 w 484043"/>
                <a:gd name="connsiteY11" fmla="*/ 173177 h 493569"/>
                <a:gd name="connsiteX12" fmla="*/ 414771 w 484043"/>
                <a:gd name="connsiteY12" fmla="*/ 173182 h 493569"/>
                <a:gd name="connsiteX13" fmla="*/ 414771 w 484043"/>
                <a:gd name="connsiteY13" fmla="*/ 242455 h 493569"/>
                <a:gd name="connsiteX14" fmla="*/ 414770 w 484043"/>
                <a:gd name="connsiteY14" fmla="*/ 242463 h 493569"/>
                <a:gd name="connsiteX15" fmla="*/ 414770 w 484043"/>
                <a:gd name="connsiteY15" fmla="*/ 285750 h 493569"/>
                <a:gd name="connsiteX16" fmla="*/ 432088 w 484043"/>
                <a:gd name="connsiteY16" fmla="*/ 285750 h 493569"/>
                <a:gd name="connsiteX17" fmla="*/ 456550 w 484043"/>
                <a:gd name="connsiteY17" fmla="*/ 275576 h 493569"/>
                <a:gd name="connsiteX18" fmla="*/ 465858 w 484043"/>
                <a:gd name="connsiteY18" fmla="*/ 253198 h 493569"/>
                <a:gd name="connsiteX19" fmla="*/ 465858 w 484043"/>
                <a:gd name="connsiteY19" fmla="*/ 209550 h 493569"/>
                <a:gd name="connsiteX20" fmla="*/ 466725 w 484043"/>
                <a:gd name="connsiteY20" fmla="*/ 209550 h 493569"/>
                <a:gd name="connsiteX21" fmla="*/ 466725 w 484043"/>
                <a:gd name="connsiteY21" fmla="*/ 199160 h 493569"/>
                <a:gd name="connsiteX22" fmla="*/ 432088 w 484043"/>
                <a:gd name="connsiteY22" fmla="*/ 164523 h 493569"/>
                <a:gd name="connsiteX23" fmla="*/ 51955 w 484043"/>
                <a:gd name="connsiteY23" fmla="*/ 164523 h 493569"/>
                <a:gd name="connsiteX24" fmla="*/ 17318 w 484043"/>
                <a:gd name="connsiteY24" fmla="*/ 199160 h 493569"/>
                <a:gd name="connsiteX25" fmla="*/ 17318 w 484043"/>
                <a:gd name="connsiteY25" fmla="*/ 251114 h 493569"/>
                <a:gd name="connsiteX26" fmla="*/ 51955 w 484043"/>
                <a:gd name="connsiteY26" fmla="*/ 285750 h 493569"/>
                <a:gd name="connsiteX27" fmla="*/ 69273 w 484043"/>
                <a:gd name="connsiteY27" fmla="*/ 285750 h 493569"/>
                <a:gd name="connsiteX28" fmla="*/ 69273 w 484043"/>
                <a:gd name="connsiteY28" fmla="*/ 249228 h 493569"/>
                <a:gd name="connsiteX29" fmla="*/ 68407 w 484043"/>
                <a:gd name="connsiteY29" fmla="*/ 242455 h 493569"/>
                <a:gd name="connsiteX30" fmla="*/ 68407 w 484043"/>
                <a:gd name="connsiteY30" fmla="*/ 173182 h 493569"/>
                <a:gd name="connsiteX31" fmla="*/ 69273 w 484043"/>
                <a:gd name="connsiteY31" fmla="*/ 168921 h 493569"/>
                <a:gd name="connsiteX32" fmla="*/ 69273 w 484043"/>
                <a:gd name="connsiteY32" fmla="*/ 164523 h 493569"/>
                <a:gd name="connsiteX33" fmla="*/ 252929 w 484043"/>
                <a:gd name="connsiteY33" fmla="*/ 18581 h 493569"/>
                <a:gd name="connsiteX34" fmla="*/ 253170 w 484043"/>
                <a:gd name="connsiteY34" fmla="*/ 21309 h 493569"/>
                <a:gd name="connsiteX35" fmla="*/ 304800 w 484043"/>
                <a:gd name="connsiteY35" fmla="*/ 132484 h 493569"/>
                <a:gd name="connsiteX36" fmla="*/ 350044 w 484043"/>
                <a:gd name="connsiteY36" fmla="*/ 157812 h 493569"/>
                <a:gd name="connsiteX37" fmla="*/ 396841 w 484043"/>
                <a:gd name="connsiteY37" fmla="*/ 162617 h 493569"/>
                <a:gd name="connsiteX38" fmla="*/ 391280 w 484043"/>
                <a:gd name="connsiteY38" fmla="*/ 126099 h 493569"/>
                <a:gd name="connsiteX39" fmla="*/ 302974 w 484043"/>
                <a:gd name="connsiteY39" fmla="*/ 28751 h 493569"/>
                <a:gd name="connsiteX40" fmla="*/ 232057 w 484043"/>
                <a:gd name="connsiteY40" fmla="*/ 18565 h 493569"/>
                <a:gd name="connsiteX41" fmla="*/ 181936 w 484043"/>
                <a:gd name="connsiteY41" fmla="*/ 28751 h 493569"/>
                <a:gd name="connsiteX42" fmla="*/ 98890 w 484043"/>
                <a:gd name="connsiteY42" fmla="*/ 111797 h 493569"/>
                <a:gd name="connsiteX43" fmla="*/ 88392 w 484043"/>
                <a:gd name="connsiteY43" fmla="*/ 163455 h 493569"/>
                <a:gd name="connsiteX44" fmla="*/ 135190 w 484043"/>
                <a:gd name="connsiteY44" fmla="*/ 158678 h 493569"/>
                <a:gd name="connsiteX45" fmla="*/ 180109 w 484043"/>
                <a:gd name="connsiteY45" fmla="*/ 133350 h 493569"/>
                <a:gd name="connsiteX46" fmla="*/ 231739 w 484043"/>
                <a:gd name="connsiteY46" fmla="*/ 22175 h 493569"/>
                <a:gd name="connsiteX47" fmla="*/ 241589 w 484043"/>
                <a:gd name="connsiteY47" fmla="*/ 0 h 493569"/>
                <a:gd name="connsiteX48" fmla="*/ 401106 w 484043"/>
                <a:gd name="connsiteY48" fmla="*/ 105939 h 493569"/>
                <a:gd name="connsiteX49" fmla="*/ 409492 w 484043"/>
                <a:gd name="connsiteY49" fmla="*/ 147205 h 493569"/>
                <a:gd name="connsiteX50" fmla="*/ 432088 w 484043"/>
                <a:gd name="connsiteY50" fmla="*/ 147205 h 493569"/>
                <a:gd name="connsiteX51" fmla="*/ 484043 w 484043"/>
                <a:gd name="connsiteY51" fmla="*/ 199160 h 493569"/>
                <a:gd name="connsiteX52" fmla="*/ 484043 w 484043"/>
                <a:gd name="connsiteY52" fmla="*/ 251114 h 493569"/>
                <a:gd name="connsiteX53" fmla="*/ 483177 w 484043"/>
                <a:gd name="connsiteY53" fmla="*/ 255375 h 493569"/>
                <a:gd name="connsiteX54" fmla="*/ 483177 w 484043"/>
                <a:gd name="connsiteY54" fmla="*/ 277957 h 493569"/>
                <a:gd name="connsiteX55" fmla="*/ 483177 w 484043"/>
                <a:gd name="connsiteY55" fmla="*/ 278823 h 493569"/>
                <a:gd name="connsiteX56" fmla="*/ 267566 w 484043"/>
                <a:gd name="connsiteY56" fmla="*/ 493568 h 493569"/>
                <a:gd name="connsiteX57" fmla="*/ 265834 w 484043"/>
                <a:gd name="connsiteY57" fmla="*/ 493568 h 493569"/>
                <a:gd name="connsiteX58" fmla="*/ 250248 w 484043"/>
                <a:gd name="connsiteY58" fmla="*/ 493568 h 493569"/>
                <a:gd name="connsiteX59" fmla="*/ 250248 w 484043"/>
                <a:gd name="connsiteY59" fmla="*/ 493569 h 493569"/>
                <a:gd name="connsiteX60" fmla="*/ 181841 w 484043"/>
                <a:gd name="connsiteY60" fmla="*/ 493569 h 493569"/>
                <a:gd name="connsiteX61" fmla="*/ 173182 w 484043"/>
                <a:gd name="connsiteY61" fmla="*/ 484910 h 493569"/>
                <a:gd name="connsiteX62" fmla="*/ 173182 w 484043"/>
                <a:gd name="connsiteY62" fmla="*/ 458933 h 493569"/>
                <a:gd name="connsiteX63" fmla="*/ 225137 w 484043"/>
                <a:gd name="connsiteY63" fmla="*/ 406978 h 493569"/>
                <a:gd name="connsiteX64" fmla="*/ 251114 w 484043"/>
                <a:gd name="connsiteY64" fmla="*/ 406978 h 493569"/>
                <a:gd name="connsiteX65" fmla="*/ 303068 w 484043"/>
                <a:gd name="connsiteY65" fmla="*/ 458933 h 493569"/>
                <a:gd name="connsiteX66" fmla="*/ 303068 w 484043"/>
                <a:gd name="connsiteY66" fmla="*/ 472678 h 493569"/>
                <a:gd name="connsiteX67" fmla="*/ 305543 w 484043"/>
                <a:gd name="connsiteY67" fmla="*/ 472435 h 493569"/>
                <a:gd name="connsiteX68" fmla="*/ 406977 w 484043"/>
                <a:gd name="connsiteY68" fmla="*/ 419100 h 493569"/>
                <a:gd name="connsiteX69" fmla="*/ 462016 w 484043"/>
                <a:gd name="connsiteY69" fmla="*/ 317789 h 493569"/>
                <a:gd name="connsiteX70" fmla="*/ 464700 w 484043"/>
                <a:gd name="connsiteY70" fmla="*/ 290565 h 493569"/>
                <a:gd name="connsiteX71" fmla="*/ 452261 w 484043"/>
                <a:gd name="connsiteY71" fmla="*/ 298969 h 493569"/>
                <a:gd name="connsiteX72" fmla="*/ 432088 w 484043"/>
                <a:gd name="connsiteY72" fmla="*/ 303069 h 493569"/>
                <a:gd name="connsiteX73" fmla="*/ 406111 w 484043"/>
                <a:gd name="connsiteY73" fmla="*/ 303069 h 493569"/>
                <a:gd name="connsiteX74" fmla="*/ 403526 w 484043"/>
                <a:gd name="connsiteY74" fmla="*/ 300484 h 493569"/>
                <a:gd name="connsiteX75" fmla="*/ 393448 w 484043"/>
                <a:gd name="connsiteY75" fmla="*/ 325907 h 493569"/>
                <a:gd name="connsiteX76" fmla="*/ 335107 w 484043"/>
                <a:gd name="connsiteY76" fmla="*/ 387927 h 493569"/>
                <a:gd name="connsiteX77" fmla="*/ 330777 w 484043"/>
                <a:gd name="connsiteY77" fmla="*/ 389659 h 493569"/>
                <a:gd name="connsiteX78" fmla="*/ 323850 w 484043"/>
                <a:gd name="connsiteY78" fmla="*/ 385330 h 493569"/>
                <a:gd name="connsiteX79" fmla="*/ 326448 w 484043"/>
                <a:gd name="connsiteY79" fmla="*/ 373207 h 493569"/>
                <a:gd name="connsiteX80" fmla="*/ 393420 w 484043"/>
                <a:gd name="connsiteY80" fmla="*/ 280785 h 493569"/>
                <a:gd name="connsiteX81" fmla="*/ 397452 w 484043"/>
                <a:gd name="connsiteY81" fmla="*/ 248519 h 493569"/>
                <a:gd name="connsiteX82" fmla="*/ 397452 w 484043"/>
                <a:gd name="connsiteY82" fmla="*/ 182198 h 493569"/>
                <a:gd name="connsiteX83" fmla="*/ 393123 w 484043"/>
                <a:gd name="connsiteY83" fmla="*/ 182707 h 493569"/>
                <a:gd name="connsiteX84" fmla="*/ 292677 w 484043"/>
                <a:gd name="connsiteY84" fmla="*/ 146338 h 493569"/>
                <a:gd name="connsiteX85" fmla="*/ 242887 w 484043"/>
                <a:gd name="connsiteY85" fmla="*/ 60289 h 493569"/>
                <a:gd name="connsiteX86" fmla="*/ 242286 w 484043"/>
                <a:gd name="connsiteY86" fmla="*/ 57231 h 493569"/>
                <a:gd name="connsiteX87" fmla="*/ 234562 w 484043"/>
                <a:gd name="connsiteY87" fmla="*/ 82485 h 493569"/>
                <a:gd name="connsiteX88" fmla="*/ 192232 w 484043"/>
                <a:gd name="connsiteY88" fmla="*/ 147204 h 493569"/>
                <a:gd name="connsiteX89" fmla="*/ 91786 w 484043"/>
                <a:gd name="connsiteY89" fmla="*/ 182707 h 493569"/>
                <a:gd name="connsiteX90" fmla="*/ 86591 w 484043"/>
                <a:gd name="connsiteY90" fmla="*/ 182401 h 493569"/>
                <a:gd name="connsiteX91" fmla="*/ 86591 w 484043"/>
                <a:gd name="connsiteY91" fmla="*/ 241589 h 493569"/>
                <a:gd name="connsiteX92" fmla="*/ 157596 w 484043"/>
                <a:gd name="connsiteY92" fmla="*/ 373207 h 493569"/>
                <a:gd name="connsiteX93" fmla="*/ 160193 w 484043"/>
                <a:gd name="connsiteY93" fmla="*/ 385330 h 493569"/>
                <a:gd name="connsiteX94" fmla="*/ 148070 w 484043"/>
                <a:gd name="connsiteY94" fmla="*/ 387927 h 493569"/>
                <a:gd name="connsiteX95" fmla="*/ 89730 w 484043"/>
                <a:gd name="connsiteY95" fmla="*/ 325257 h 493569"/>
                <a:gd name="connsiteX96" fmla="*/ 80054 w 484043"/>
                <a:gd name="connsiteY96" fmla="*/ 300947 h 493569"/>
                <a:gd name="connsiteX97" fmla="*/ 77932 w 484043"/>
                <a:gd name="connsiteY97" fmla="*/ 303069 h 493569"/>
                <a:gd name="connsiteX98" fmla="*/ 51955 w 484043"/>
                <a:gd name="connsiteY98" fmla="*/ 303069 h 493569"/>
                <a:gd name="connsiteX99" fmla="*/ 0 w 484043"/>
                <a:gd name="connsiteY99" fmla="*/ 251114 h 493569"/>
                <a:gd name="connsiteX100" fmla="*/ 0 w 484043"/>
                <a:gd name="connsiteY100" fmla="*/ 199160 h 493569"/>
                <a:gd name="connsiteX101" fmla="*/ 51955 w 484043"/>
                <a:gd name="connsiteY101" fmla="*/ 147205 h 493569"/>
                <a:gd name="connsiteX102" fmla="*/ 73686 w 484043"/>
                <a:gd name="connsiteY102" fmla="*/ 147205 h 493569"/>
                <a:gd name="connsiteX103" fmla="*/ 82072 w 484043"/>
                <a:gd name="connsiteY103" fmla="*/ 105939 h 493569"/>
                <a:gd name="connsiteX104" fmla="*/ 241589 w 484043"/>
                <a:gd name="connsiteY104" fmla="*/ 0 h 49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84043" h="493569">
                  <a:moveTo>
                    <a:pt x="225137" y="424296"/>
                  </a:moveTo>
                  <a:cubicBezTo>
                    <a:pt x="206086" y="424296"/>
                    <a:pt x="190500" y="439882"/>
                    <a:pt x="190500" y="458933"/>
                  </a:cubicBezTo>
                  <a:lnTo>
                    <a:pt x="190500" y="476251"/>
                  </a:lnTo>
                  <a:lnTo>
                    <a:pt x="215611" y="476251"/>
                  </a:lnTo>
                  <a:lnTo>
                    <a:pt x="215611" y="476250"/>
                  </a:lnTo>
                  <a:lnTo>
                    <a:pt x="265834" y="476250"/>
                  </a:lnTo>
                  <a:cubicBezTo>
                    <a:pt x="265834" y="476250"/>
                    <a:pt x="266699" y="476250"/>
                    <a:pt x="266699" y="476250"/>
                  </a:cubicBezTo>
                  <a:lnTo>
                    <a:pt x="285750" y="474379"/>
                  </a:lnTo>
                  <a:lnTo>
                    <a:pt x="285750" y="458933"/>
                  </a:lnTo>
                  <a:cubicBezTo>
                    <a:pt x="285750" y="439882"/>
                    <a:pt x="270164" y="424296"/>
                    <a:pt x="251114" y="424296"/>
                  </a:cubicBezTo>
                  <a:close/>
                  <a:moveTo>
                    <a:pt x="414770" y="164523"/>
                  </a:moveTo>
                  <a:lnTo>
                    <a:pt x="414770" y="173177"/>
                  </a:lnTo>
                  <a:lnTo>
                    <a:pt x="414771" y="173182"/>
                  </a:lnTo>
                  <a:lnTo>
                    <a:pt x="414771" y="242455"/>
                  </a:lnTo>
                  <a:lnTo>
                    <a:pt x="414770" y="242463"/>
                  </a:lnTo>
                  <a:lnTo>
                    <a:pt x="414770" y="285750"/>
                  </a:lnTo>
                  <a:lnTo>
                    <a:pt x="432088" y="285750"/>
                  </a:lnTo>
                  <a:cubicBezTo>
                    <a:pt x="441613" y="285750"/>
                    <a:pt x="450272" y="281854"/>
                    <a:pt x="456550" y="275576"/>
                  </a:cubicBezTo>
                  <a:lnTo>
                    <a:pt x="465858" y="253198"/>
                  </a:lnTo>
                  <a:lnTo>
                    <a:pt x="465858" y="209550"/>
                  </a:lnTo>
                  <a:lnTo>
                    <a:pt x="466725" y="209550"/>
                  </a:lnTo>
                  <a:lnTo>
                    <a:pt x="466725" y="199160"/>
                  </a:lnTo>
                  <a:cubicBezTo>
                    <a:pt x="466725" y="180109"/>
                    <a:pt x="451138" y="164523"/>
                    <a:pt x="432088" y="164523"/>
                  </a:cubicBezTo>
                  <a:close/>
                  <a:moveTo>
                    <a:pt x="51955" y="164523"/>
                  </a:moveTo>
                  <a:cubicBezTo>
                    <a:pt x="32904" y="164523"/>
                    <a:pt x="17318" y="180109"/>
                    <a:pt x="17318" y="199160"/>
                  </a:cubicBezTo>
                  <a:lnTo>
                    <a:pt x="17318" y="251114"/>
                  </a:lnTo>
                  <a:cubicBezTo>
                    <a:pt x="17318" y="270164"/>
                    <a:pt x="32904" y="285750"/>
                    <a:pt x="51955" y="285750"/>
                  </a:cubicBezTo>
                  <a:lnTo>
                    <a:pt x="69273" y="285750"/>
                  </a:lnTo>
                  <a:lnTo>
                    <a:pt x="69273" y="249228"/>
                  </a:lnTo>
                  <a:lnTo>
                    <a:pt x="68407" y="242455"/>
                  </a:lnTo>
                  <a:lnTo>
                    <a:pt x="68407" y="173182"/>
                  </a:lnTo>
                  <a:lnTo>
                    <a:pt x="69273" y="168921"/>
                  </a:lnTo>
                  <a:lnTo>
                    <a:pt x="69273" y="164523"/>
                  </a:lnTo>
                  <a:close/>
                  <a:moveTo>
                    <a:pt x="252929" y="18581"/>
                  </a:moveTo>
                  <a:lnTo>
                    <a:pt x="253170" y="21309"/>
                  </a:lnTo>
                  <a:cubicBezTo>
                    <a:pt x="256255" y="45947"/>
                    <a:pt x="267133" y="98714"/>
                    <a:pt x="304800" y="132484"/>
                  </a:cubicBezTo>
                  <a:cubicBezTo>
                    <a:pt x="317788" y="144174"/>
                    <a:pt x="332942" y="152617"/>
                    <a:pt x="350044" y="157812"/>
                  </a:cubicBezTo>
                  <a:lnTo>
                    <a:pt x="396841" y="162617"/>
                  </a:lnTo>
                  <a:lnTo>
                    <a:pt x="391280" y="126099"/>
                  </a:lnTo>
                  <a:cubicBezTo>
                    <a:pt x="377564" y="82245"/>
                    <a:pt x="344892" y="46559"/>
                    <a:pt x="302974" y="28751"/>
                  </a:cubicBezTo>
                  <a:close/>
                  <a:moveTo>
                    <a:pt x="232057" y="18565"/>
                  </a:moveTo>
                  <a:lnTo>
                    <a:pt x="181936" y="28751"/>
                  </a:lnTo>
                  <a:cubicBezTo>
                    <a:pt x="144674" y="44581"/>
                    <a:pt x="114719" y="74536"/>
                    <a:pt x="98890" y="111797"/>
                  </a:cubicBezTo>
                  <a:lnTo>
                    <a:pt x="88392" y="163455"/>
                  </a:lnTo>
                  <a:lnTo>
                    <a:pt x="135190" y="158678"/>
                  </a:lnTo>
                  <a:cubicBezTo>
                    <a:pt x="152184" y="153483"/>
                    <a:pt x="167121" y="145040"/>
                    <a:pt x="180109" y="133350"/>
                  </a:cubicBezTo>
                  <a:cubicBezTo>
                    <a:pt x="217776" y="99580"/>
                    <a:pt x="228654" y="46813"/>
                    <a:pt x="231739" y="22175"/>
                  </a:cubicBezTo>
                  <a:close/>
                  <a:moveTo>
                    <a:pt x="241589" y="0"/>
                  </a:moveTo>
                  <a:cubicBezTo>
                    <a:pt x="313027" y="0"/>
                    <a:pt x="374723" y="43837"/>
                    <a:pt x="401106" y="105939"/>
                  </a:cubicBezTo>
                  <a:lnTo>
                    <a:pt x="409492" y="147205"/>
                  </a:lnTo>
                  <a:lnTo>
                    <a:pt x="432088" y="147205"/>
                  </a:lnTo>
                  <a:cubicBezTo>
                    <a:pt x="460663" y="147205"/>
                    <a:pt x="484043" y="170585"/>
                    <a:pt x="484043" y="199160"/>
                  </a:cubicBezTo>
                  <a:lnTo>
                    <a:pt x="484043" y="251114"/>
                  </a:lnTo>
                  <a:lnTo>
                    <a:pt x="483177" y="255375"/>
                  </a:lnTo>
                  <a:lnTo>
                    <a:pt x="483177" y="277957"/>
                  </a:lnTo>
                  <a:cubicBezTo>
                    <a:pt x="483177" y="277957"/>
                    <a:pt x="483177" y="278823"/>
                    <a:pt x="483177" y="278823"/>
                  </a:cubicBezTo>
                  <a:cubicBezTo>
                    <a:pt x="484043" y="397452"/>
                    <a:pt x="387061" y="493568"/>
                    <a:pt x="267566" y="493568"/>
                  </a:cubicBezTo>
                  <a:cubicBezTo>
                    <a:pt x="266699" y="493568"/>
                    <a:pt x="266699" y="493568"/>
                    <a:pt x="265834" y="493568"/>
                  </a:cubicBezTo>
                  <a:lnTo>
                    <a:pt x="250248" y="493568"/>
                  </a:lnTo>
                  <a:lnTo>
                    <a:pt x="250248" y="493569"/>
                  </a:lnTo>
                  <a:lnTo>
                    <a:pt x="181841" y="493569"/>
                  </a:lnTo>
                  <a:cubicBezTo>
                    <a:pt x="176646" y="493569"/>
                    <a:pt x="173182" y="490105"/>
                    <a:pt x="173182" y="484910"/>
                  </a:cubicBezTo>
                  <a:lnTo>
                    <a:pt x="173182" y="458933"/>
                  </a:lnTo>
                  <a:cubicBezTo>
                    <a:pt x="173182" y="430358"/>
                    <a:pt x="196562" y="406978"/>
                    <a:pt x="225137" y="406978"/>
                  </a:cubicBezTo>
                  <a:lnTo>
                    <a:pt x="251114" y="406978"/>
                  </a:lnTo>
                  <a:cubicBezTo>
                    <a:pt x="279689" y="406978"/>
                    <a:pt x="303068" y="430358"/>
                    <a:pt x="303068" y="458933"/>
                  </a:cubicBezTo>
                  <a:lnTo>
                    <a:pt x="303068" y="472678"/>
                  </a:lnTo>
                  <a:lnTo>
                    <a:pt x="305543" y="472435"/>
                  </a:lnTo>
                  <a:cubicBezTo>
                    <a:pt x="343495" y="464885"/>
                    <a:pt x="378402" y="446376"/>
                    <a:pt x="406977" y="419100"/>
                  </a:cubicBezTo>
                  <a:cubicBezTo>
                    <a:pt x="435552" y="391175"/>
                    <a:pt x="454385" y="355943"/>
                    <a:pt x="462016" y="317789"/>
                  </a:cubicBezTo>
                  <a:lnTo>
                    <a:pt x="464700" y="290565"/>
                  </a:lnTo>
                  <a:lnTo>
                    <a:pt x="452261" y="298969"/>
                  </a:lnTo>
                  <a:cubicBezTo>
                    <a:pt x="446051" y="301608"/>
                    <a:pt x="439232" y="303069"/>
                    <a:pt x="432088" y="303069"/>
                  </a:cubicBezTo>
                  <a:lnTo>
                    <a:pt x="406111" y="303069"/>
                  </a:lnTo>
                  <a:lnTo>
                    <a:pt x="403526" y="300484"/>
                  </a:lnTo>
                  <a:lnTo>
                    <a:pt x="393448" y="325907"/>
                  </a:lnTo>
                  <a:cubicBezTo>
                    <a:pt x="379702" y="350910"/>
                    <a:pt x="359786" y="372341"/>
                    <a:pt x="335107" y="387927"/>
                  </a:cubicBezTo>
                  <a:cubicBezTo>
                    <a:pt x="334241" y="388793"/>
                    <a:pt x="332509" y="389659"/>
                    <a:pt x="330777" y="389659"/>
                  </a:cubicBezTo>
                  <a:cubicBezTo>
                    <a:pt x="328180" y="389659"/>
                    <a:pt x="324716" y="387927"/>
                    <a:pt x="323850" y="385330"/>
                  </a:cubicBezTo>
                  <a:cubicBezTo>
                    <a:pt x="321252" y="381000"/>
                    <a:pt x="322118" y="375805"/>
                    <a:pt x="326448" y="373207"/>
                  </a:cubicBezTo>
                  <a:cubicBezTo>
                    <a:pt x="360218" y="351776"/>
                    <a:pt x="383760" y="318655"/>
                    <a:pt x="393420" y="280785"/>
                  </a:cubicBezTo>
                  <a:lnTo>
                    <a:pt x="397452" y="248519"/>
                  </a:lnTo>
                  <a:lnTo>
                    <a:pt x="397452" y="182198"/>
                  </a:lnTo>
                  <a:lnTo>
                    <a:pt x="393123" y="182707"/>
                  </a:lnTo>
                  <a:cubicBezTo>
                    <a:pt x="352425" y="182707"/>
                    <a:pt x="318654" y="170584"/>
                    <a:pt x="292677" y="146338"/>
                  </a:cubicBezTo>
                  <a:cubicBezTo>
                    <a:pt x="264968" y="121227"/>
                    <a:pt x="250464" y="87890"/>
                    <a:pt x="242887" y="60289"/>
                  </a:cubicBezTo>
                  <a:lnTo>
                    <a:pt x="242286" y="57231"/>
                  </a:lnTo>
                  <a:lnTo>
                    <a:pt x="234562" y="82485"/>
                  </a:lnTo>
                  <a:cubicBezTo>
                    <a:pt x="225962" y="104789"/>
                    <a:pt x="212689" y="128371"/>
                    <a:pt x="192232" y="147204"/>
                  </a:cubicBezTo>
                  <a:cubicBezTo>
                    <a:pt x="166255" y="170584"/>
                    <a:pt x="132484" y="182707"/>
                    <a:pt x="91786" y="182707"/>
                  </a:cubicBezTo>
                  <a:lnTo>
                    <a:pt x="86591" y="182401"/>
                  </a:lnTo>
                  <a:lnTo>
                    <a:pt x="86591" y="241589"/>
                  </a:lnTo>
                  <a:cubicBezTo>
                    <a:pt x="86591" y="295275"/>
                    <a:pt x="113434" y="343766"/>
                    <a:pt x="157596" y="373207"/>
                  </a:cubicBezTo>
                  <a:cubicBezTo>
                    <a:pt x="161925" y="375805"/>
                    <a:pt x="162791" y="381000"/>
                    <a:pt x="160193" y="385330"/>
                  </a:cubicBezTo>
                  <a:cubicBezTo>
                    <a:pt x="157596" y="389659"/>
                    <a:pt x="152400" y="390525"/>
                    <a:pt x="148070" y="387927"/>
                  </a:cubicBezTo>
                  <a:cubicBezTo>
                    <a:pt x="123392" y="371908"/>
                    <a:pt x="103476" y="350260"/>
                    <a:pt x="89730" y="325257"/>
                  </a:cubicBezTo>
                  <a:lnTo>
                    <a:pt x="80054" y="300947"/>
                  </a:lnTo>
                  <a:lnTo>
                    <a:pt x="77932" y="303069"/>
                  </a:lnTo>
                  <a:lnTo>
                    <a:pt x="51955" y="303069"/>
                  </a:lnTo>
                  <a:cubicBezTo>
                    <a:pt x="23380" y="303069"/>
                    <a:pt x="0" y="279689"/>
                    <a:pt x="0" y="251114"/>
                  </a:cubicBezTo>
                  <a:lnTo>
                    <a:pt x="0" y="199160"/>
                  </a:lnTo>
                  <a:cubicBezTo>
                    <a:pt x="0" y="170585"/>
                    <a:pt x="23380" y="147205"/>
                    <a:pt x="51955" y="147205"/>
                  </a:cubicBezTo>
                  <a:lnTo>
                    <a:pt x="73686" y="147205"/>
                  </a:lnTo>
                  <a:lnTo>
                    <a:pt x="82072" y="105939"/>
                  </a:lnTo>
                  <a:cubicBezTo>
                    <a:pt x="108455" y="43837"/>
                    <a:pt x="170152" y="0"/>
                    <a:pt x="241589" y="0"/>
                  </a:cubicBezTo>
                  <a:close/>
                </a:path>
              </a:pathLst>
            </a:custGeom>
            <a:grpFill/>
            <a:ln w="8653" cap="flat">
              <a:noFill/>
              <a:prstDash val="solid"/>
              <a:miter/>
            </a:ln>
          </p:spPr>
          <p:txBody>
            <a:bodyPr rtlCol="0" anchor="ctr"/>
            <a:lstStyle/>
            <a:p>
              <a:endParaRPr lang="en-US" dirty="0"/>
            </a:p>
          </p:txBody>
        </p:sp>
      </p:grpSp>
      <p:sp>
        <p:nvSpPr>
          <p:cNvPr id="94" name="Rectangle 93">
            <a:extLst>
              <a:ext uri="{FF2B5EF4-FFF2-40B4-BE49-F238E27FC236}">
                <a16:creationId xmlns:a16="http://schemas.microsoft.com/office/drawing/2014/main" id="{987EAD23-EF37-BB64-6C36-DD75CFDF042D}"/>
              </a:ext>
            </a:extLst>
          </p:cNvPr>
          <p:cNvSpPr/>
          <p:nvPr/>
        </p:nvSpPr>
        <p:spPr>
          <a:xfrm>
            <a:off x="2390393" y="4846297"/>
            <a:ext cx="7064555" cy="3529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600" b="0" i="0" u="none" strike="noStrike" kern="1200" cap="none" spc="0" normalizeH="0" baseline="0" noProof="0" dirty="0">
                <a:ln>
                  <a:noFill/>
                </a:ln>
                <a:solidFill>
                  <a:schemeClr val="tx1"/>
                </a:solidFill>
                <a:effectLst/>
                <a:uLnTx/>
                <a:uFillTx/>
                <a:latin typeface="ServiceNow Sans Medium" panose="020B0704040101010104" pitchFamily="34" charset="0"/>
                <a:cs typeface="ServiceNow Sans Medium" panose="020B0704040101010104" pitchFamily="34" charset="0"/>
              </a:rPr>
              <a:t>Job Architecture</a:t>
            </a:r>
            <a:endParaRPr lang="en-US" sz="1600" dirty="0">
              <a:solidFill>
                <a:schemeClr val="tx1"/>
              </a:solidFill>
              <a:latin typeface="ServiceNow Sans Medium" panose="020B0704040101010104" pitchFamily="34" charset="0"/>
              <a:cs typeface="ServiceNow Sans" panose="020B0504040101010104" pitchFamily="34" charset="77"/>
            </a:endParaRPr>
          </a:p>
        </p:txBody>
      </p:sp>
      <p:sp>
        <p:nvSpPr>
          <p:cNvPr id="95" name="Rectangle 94">
            <a:extLst>
              <a:ext uri="{FF2B5EF4-FFF2-40B4-BE49-F238E27FC236}">
                <a16:creationId xmlns:a16="http://schemas.microsoft.com/office/drawing/2014/main" id="{2E502D32-87B3-3806-B355-344B0F66BEF8}"/>
              </a:ext>
            </a:extLst>
          </p:cNvPr>
          <p:cNvSpPr/>
          <p:nvPr/>
        </p:nvSpPr>
        <p:spPr>
          <a:xfrm>
            <a:off x="4510714" y="2511922"/>
            <a:ext cx="2770045" cy="352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ServiceNow Sans Medium" panose="020B0704040101010104" pitchFamily="34" charset="0"/>
                <a:cs typeface="ServiceNow Sans Medium" panose="020B0704040101010104" pitchFamily="34" charset="0"/>
              </a:rPr>
              <a:t>Recruitment Workspace</a:t>
            </a:r>
            <a:endParaRPr lang="en-US" sz="1600" dirty="0">
              <a:solidFill>
                <a:schemeClr val="tx1"/>
              </a:solidFill>
              <a:latin typeface="ServiceNow Sans Medium" panose="020B0704040101010104" pitchFamily="34" charset="0"/>
              <a:cs typeface="ServiceNow Sans" panose="020B0504040101010104" pitchFamily="34" charset="77"/>
            </a:endParaRPr>
          </a:p>
        </p:txBody>
      </p:sp>
      <p:sp>
        <p:nvSpPr>
          <p:cNvPr id="96" name="Rectangle 95">
            <a:extLst>
              <a:ext uri="{FF2B5EF4-FFF2-40B4-BE49-F238E27FC236}">
                <a16:creationId xmlns:a16="http://schemas.microsoft.com/office/drawing/2014/main" id="{D1C006B9-4D04-136B-D573-E5969AC4A911}"/>
              </a:ext>
            </a:extLst>
          </p:cNvPr>
          <p:cNvSpPr/>
          <p:nvPr/>
        </p:nvSpPr>
        <p:spPr>
          <a:xfrm>
            <a:off x="7846650" y="3246021"/>
            <a:ext cx="2839553" cy="359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ServiceNow Sans Medium" panose="020B0704040101010104" pitchFamily="34" charset="0"/>
                <a:cs typeface="ServiceNow Sans Medium" panose="020B0704040101010104" pitchFamily="34" charset="0"/>
              </a:rPr>
              <a:t>Hiring Tab in Manager Hub</a:t>
            </a:r>
            <a:endParaRPr lang="en-US" sz="1600" dirty="0">
              <a:solidFill>
                <a:schemeClr val="tx1"/>
              </a:solidFill>
              <a:latin typeface="ServiceNow Sans Medium" panose="020B0704040101010104" pitchFamily="34" charset="0"/>
              <a:cs typeface="ServiceNow Sans" panose="020B0504040101010104" pitchFamily="34" charset="77"/>
            </a:endParaRPr>
          </a:p>
        </p:txBody>
      </p:sp>
      <p:grpSp>
        <p:nvGrpSpPr>
          <p:cNvPr id="97" name="Group 96">
            <a:extLst>
              <a:ext uri="{FF2B5EF4-FFF2-40B4-BE49-F238E27FC236}">
                <a16:creationId xmlns:a16="http://schemas.microsoft.com/office/drawing/2014/main" id="{C9CC497B-1D16-4DFD-1070-8BDA79F3588A}"/>
              </a:ext>
              <a:ext uri="{C183D7F6-B498-43B3-948B-1728B52AA6E4}">
                <adec:decorative xmlns:adec="http://schemas.microsoft.com/office/drawing/2017/decorative" val="1"/>
              </a:ext>
            </a:extLst>
          </p:cNvPr>
          <p:cNvGrpSpPr/>
          <p:nvPr/>
        </p:nvGrpSpPr>
        <p:grpSpPr>
          <a:xfrm>
            <a:off x="5131662" y="2979073"/>
            <a:ext cx="1586321" cy="307777"/>
            <a:chOff x="3998216" y="4807544"/>
            <a:chExt cx="2232977" cy="880287"/>
          </a:xfrm>
        </p:grpSpPr>
        <p:sp>
          <p:nvSpPr>
            <p:cNvPr id="98" name="Rounded Rectangle 17">
              <a:extLst>
                <a:ext uri="{FF2B5EF4-FFF2-40B4-BE49-F238E27FC236}">
                  <a16:creationId xmlns:a16="http://schemas.microsoft.com/office/drawing/2014/main" id="{61E2C35D-B717-0478-FEBE-42A0B89E0A77}"/>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ServiceNow Sans" panose="020B0504040101010104" pitchFamily="34" charset="77"/>
                <a:cs typeface="ServiceNow Sans" panose="020B0504040101010104" pitchFamily="34" charset="77"/>
              </a:endParaRPr>
            </a:p>
          </p:txBody>
        </p:sp>
        <p:sp>
          <p:nvSpPr>
            <p:cNvPr id="99" name="Rounded Rectangle 18">
              <a:extLst>
                <a:ext uri="{FF2B5EF4-FFF2-40B4-BE49-F238E27FC236}">
                  <a16:creationId xmlns:a16="http://schemas.microsoft.com/office/drawing/2014/main" id="{D11E95EA-B363-EB24-D84E-4476D1CB126F}"/>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ServiceNow Sans" panose="020B0504040101010104" pitchFamily="34" charset="77"/>
                  <a:cs typeface="ServiceNow Sans" panose="020B0504040101010104" pitchFamily="34" charset="77"/>
                </a:rPr>
                <a:t>Talent Profiles &amp; Pools</a:t>
              </a:r>
            </a:p>
          </p:txBody>
        </p:sp>
      </p:grpSp>
      <p:sp>
        <p:nvSpPr>
          <p:cNvPr id="100" name="Rectangle 99">
            <a:extLst>
              <a:ext uri="{FF2B5EF4-FFF2-40B4-BE49-F238E27FC236}">
                <a16:creationId xmlns:a16="http://schemas.microsoft.com/office/drawing/2014/main" id="{94E0EF91-ADF3-AD00-B0B6-FB20EBFFED1E}"/>
              </a:ext>
            </a:extLst>
          </p:cNvPr>
          <p:cNvSpPr/>
          <p:nvPr/>
        </p:nvSpPr>
        <p:spPr>
          <a:xfrm>
            <a:off x="2390392" y="4302658"/>
            <a:ext cx="7064555" cy="3529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600" b="0" i="0" u="none" strike="noStrike" kern="1200" cap="none" spc="0" normalizeH="0" baseline="0" noProof="0" dirty="0">
                <a:ln>
                  <a:noFill/>
                </a:ln>
                <a:solidFill>
                  <a:schemeClr val="tx1"/>
                </a:solidFill>
                <a:effectLst/>
                <a:uLnTx/>
                <a:uFillTx/>
                <a:latin typeface="ServiceNow Sans Medium" panose="020B0704040101010104" pitchFamily="34" charset="0"/>
                <a:cs typeface="ServiceNow Sans Medium" panose="020B0704040101010104" pitchFamily="34" charset="0"/>
              </a:rPr>
              <a:t>Job Requisition Management</a:t>
            </a:r>
            <a:endParaRPr lang="en-US" sz="1600" dirty="0">
              <a:solidFill>
                <a:schemeClr val="tx1"/>
              </a:solidFill>
              <a:latin typeface="ServiceNow Sans Medium" panose="020B0704040101010104" pitchFamily="34" charset="0"/>
              <a:cs typeface="ServiceNow Sans" panose="020B0504040101010104" pitchFamily="34" charset="77"/>
            </a:endParaRPr>
          </a:p>
        </p:txBody>
      </p:sp>
      <p:sp>
        <p:nvSpPr>
          <p:cNvPr id="101" name="Rectangle 100">
            <a:extLst>
              <a:ext uri="{FF2B5EF4-FFF2-40B4-BE49-F238E27FC236}">
                <a16:creationId xmlns:a16="http://schemas.microsoft.com/office/drawing/2014/main" id="{0837441A-D403-50B9-22B3-262E53B2D43B}"/>
              </a:ext>
            </a:extLst>
          </p:cNvPr>
          <p:cNvSpPr/>
          <p:nvPr/>
        </p:nvSpPr>
        <p:spPr>
          <a:xfrm>
            <a:off x="4519934" y="3778697"/>
            <a:ext cx="2770045" cy="3529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ServiceNow Sans Medium" panose="020B0704040101010104" pitchFamily="34" charset="0"/>
                <a:cs typeface="ServiceNow Sans Medium" panose="020B0704040101010104" pitchFamily="34" charset="0"/>
              </a:rPr>
              <a:t>Interview Management</a:t>
            </a:r>
          </a:p>
        </p:txBody>
      </p:sp>
      <p:sp>
        <p:nvSpPr>
          <p:cNvPr id="102" name="TextBox 101">
            <a:extLst>
              <a:ext uri="{FF2B5EF4-FFF2-40B4-BE49-F238E27FC236}">
                <a16:creationId xmlns:a16="http://schemas.microsoft.com/office/drawing/2014/main" id="{D89ACFE2-4A8E-ECE7-A066-0C88F2E1F464}"/>
              </a:ext>
            </a:extLst>
          </p:cNvPr>
          <p:cNvSpPr txBox="1"/>
          <p:nvPr/>
        </p:nvSpPr>
        <p:spPr>
          <a:xfrm>
            <a:off x="3217968" y="3840090"/>
            <a:ext cx="832538" cy="254645"/>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079" tIns="30079" rIns="30079" bIns="30079" numCol="1" spcCol="38100" rtlCol="0" anchor="t">
            <a:spAutoFit/>
          </a:bodyPr>
          <a:lstStyle/>
          <a:p>
            <a:pPr algn="ctr" defTabSz="1827305">
              <a:lnSpc>
                <a:spcPct val="90000"/>
              </a:lnSpc>
            </a:pPr>
            <a:r>
              <a:rPr lang="en-US" sz="1400" dirty="0">
                <a:solidFill>
                  <a:schemeClr val="bg1"/>
                </a:solidFill>
                <a:latin typeface="Century Gothic"/>
                <a:sym typeface="Gilroy W05 Bold"/>
              </a:rPr>
              <a:t>Outlook</a:t>
            </a:r>
            <a:endParaRPr lang="en-US" sz="1400" dirty="0">
              <a:solidFill>
                <a:schemeClr val="bg1"/>
              </a:solidFill>
              <a:latin typeface="Century Gothic"/>
            </a:endParaRPr>
          </a:p>
        </p:txBody>
      </p:sp>
      <p:cxnSp>
        <p:nvCxnSpPr>
          <p:cNvPr id="103" name="Straight Arrow Connector 102">
            <a:extLst>
              <a:ext uri="{FF2B5EF4-FFF2-40B4-BE49-F238E27FC236}">
                <a16:creationId xmlns:a16="http://schemas.microsoft.com/office/drawing/2014/main" id="{F6A47236-D292-D899-69BF-1521FE5A57D6}"/>
              </a:ext>
            </a:extLst>
          </p:cNvPr>
          <p:cNvCxnSpPr>
            <a:cxnSpLocks/>
          </p:cNvCxnSpPr>
          <p:nvPr/>
        </p:nvCxnSpPr>
        <p:spPr>
          <a:xfrm flipH="1">
            <a:off x="4050506" y="4024691"/>
            <a:ext cx="398984" cy="0"/>
          </a:xfrm>
          <a:prstGeom prst="straightConnector1">
            <a:avLst/>
          </a:prstGeom>
          <a:noFill/>
          <a:ln w="12700" cap="flat" cmpd="sng" algn="ctr">
            <a:solidFill>
              <a:schemeClr val="accent1"/>
            </a:solidFill>
            <a:prstDash val="solid"/>
            <a:miter lim="800000"/>
            <a:tailEnd type="triangle"/>
          </a:ln>
          <a:effectLst/>
        </p:spPr>
      </p:cxnSp>
      <p:cxnSp>
        <p:nvCxnSpPr>
          <p:cNvPr id="104" name="Straight Arrow Connector 103">
            <a:extLst>
              <a:ext uri="{FF2B5EF4-FFF2-40B4-BE49-F238E27FC236}">
                <a16:creationId xmlns:a16="http://schemas.microsoft.com/office/drawing/2014/main" id="{11F106FB-7E2D-2177-5EC2-6402DECB2B5E}"/>
              </a:ext>
            </a:extLst>
          </p:cNvPr>
          <p:cNvCxnSpPr>
            <a:cxnSpLocks/>
          </p:cNvCxnSpPr>
          <p:nvPr/>
        </p:nvCxnSpPr>
        <p:spPr>
          <a:xfrm>
            <a:off x="4050506" y="3886496"/>
            <a:ext cx="398984" cy="0"/>
          </a:xfrm>
          <a:prstGeom prst="straightConnector1">
            <a:avLst/>
          </a:prstGeom>
          <a:noFill/>
          <a:ln w="12700" cap="flat" cmpd="sng" algn="ctr">
            <a:solidFill>
              <a:schemeClr val="accent1"/>
            </a:solidFill>
            <a:prstDash val="sysDot"/>
            <a:miter lim="800000"/>
            <a:tailEnd type="triangle"/>
          </a:ln>
          <a:effectLst/>
        </p:spPr>
      </p:cxnSp>
      <p:sp>
        <p:nvSpPr>
          <p:cNvPr id="105" name="TextBox 104">
            <a:extLst>
              <a:ext uri="{FF2B5EF4-FFF2-40B4-BE49-F238E27FC236}">
                <a16:creationId xmlns:a16="http://schemas.microsoft.com/office/drawing/2014/main" id="{DEB2FAE0-C921-BAD3-ED66-DBE37FD78F38}"/>
              </a:ext>
            </a:extLst>
          </p:cNvPr>
          <p:cNvSpPr txBox="1"/>
          <p:nvPr/>
        </p:nvSpPr>
        <p:spPr>
          <a:xfrm>
            <a:off x="7772715" y="3825367"/>
            <a:ext cx="691376" cy="254645"/>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079" tIns="30079" rIns="30079" bIns="30079" numCol="1" spcCol="38100" rtlCol="0" anchor="t">
            <a:spAutoFit/>
          </a:bodyPr>
          <a:lstStyle/>
          <a:p>
            <a:pPr algn="ctr" defTabSz="1827305">
              <a:lnSpc>
                <a:spcPct val="90000"/>
              </a:lnSpc>
            </a:pPr>
            <a:r>
              <a:rPr lang="en-US" sz="1400" dirty="0">
                <a:solidFill>
                  <a:schemeClr val="bg1"/>
                </a:solidFill>
                <a:latin typeface="Century Gothic"/>
                <a:sym typeface="Gilroy W05 Bold"/>
              </a:rPr>
              <a:t>Zoom</a:t>
            </a:r>
            <a:endParaRPr lang="en-US" sz="1400" dirty="0">
              <a:solidFill>
                <a:schemeClr val="bg1"/>
              </a:solidFill>
              <a:latin typeface="Century Gothic"/>
            </a:endParaRPr>
          </a:p>
        </p:txBody>
      </p:sp>
      <p:cxnSp>
        <p:nvCxnSpPr>
          <p:cNvPr id="112" name="Straight Arrow Connector 111">
            <a:extLst>
              <a:ext uri="{FF2B5EF4-FFF2-40B4-BE49-F238E27FC236}">
                <a16:creationId xmlns:a16="http://schemas.microsoft.com/office/drawing/2014/main" id="{74FE880D-D428-3276-686E-9C8F4078AF89}"/>
              </a:ext>
            </a:extLst>
          </p:cNvPr>
          <p:cNvCxnSpPr>
            <a:cxnSpLocks/>
          </p:cNvCxnSpPr>
          <p:nvPr/>
        </p:nvCxnSpPr>
        <p:spPr>
          <a:xfrm flipH="1">
            <a:off x="7373731" y="4023176"/>
            <a:ext cx="398984" cy="0"/>
          </a:xfrm>
          <a:prstGeom prst="straightConnector1">
            <a:avLst/>
          </a:prstGeom>
          <a:noFill/>
          <a:ln w="12700" cap="flat" cmpd="sng" algn="ctr">
            <a:solidFill>
              <a:schemeClr val="accent1"/>
            </a:solidFill>
            <a:prstDash val="solid"/>
            <a:miter lim="800000"/>
            <a:tailEnd type="triangle"/>
          </a:ln>
          <a:effectLst/>
        </p:spPr>
      </p:cxnSp>
      <p:cxnSp>
        <p:nvCxnSpPr>
          <p:cNvPr id="113" name="Straight Arrow Connector 112">
            <a:extLst>
              <a:ext uri="{FF2B5EF4-FFF2-40B4-BE49-F238E27FC236}">
                <a16:creationId xmlns:a16="http://schemas.microsoft.com/office/drawing/2014/main" id="{0B969FE5-29D4-1BED-F2E4-1535A39397CA}"/>
              </a:ext>
            </a:extLst>
          </p:cNvPr>
          <p:cNvCxnSpPr>
            <a:cxnSpLocks/>
          </p:cNvCxnSpPr>
          <p:nvPr/>
        </p:nvCxnSpPr>
        <p:spPr>
          <a:xfrm>
            <a:off x="7373731" y="3884981"/>
            <a:ext cx="398984" cy="0"/>
          </a:xfrm>
          <a:prstGeom prst="straightConnector1">
            <a:avLst/>
          </a:prstGeom>
          <a:noFill/>
          <a:ln w="12700" cap="flat" cmpd="sng" algn="ctr">
            <a:solidFill>
              <a:schemeClr val="accent1"/>
            </a:solidFill>
            <a:prstDash val="sysDot"/>
            <a:miter lim="800000"/>
            <a:tailEnd type="triangle"/>
          </a:ln>
          <a:effectLst/>
        </p:spPr>
      </p:cxnSp>
      <p:sp>
        <p:nvSpPr>
          <p:cNvPr id="121" name="TextBox 141">
            <a:extLst>
              <a:ext uri="{FF2B5EF4-FFF2-40B4-BE49-F238E27FC236}">
                <a16:creationId xmlns:a16="http://schemas.microsoft.com/office/drawing/2014/main" id="{906CE1D2-CFDB-2798-2997-44C728E2E97A}"/>
              </a:ext>
            </a:extLst>
          </p:cNvPr>
          <p:cNvSpPr txBox="1"/>
          <p:nvPr/>
        </p:nvSpPr>
        <p:spPr>
          <a:xfrm>
            <a:off x="9589777" y="4693087"/>
            <a:ext cx="1416110" cy="5231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670" tIns="45670" rIns="45670" bIns="45670" numCol="1" anchor="t">
            <a:spAutoFit/>
          </a:bodyPr>
          <a:lstStyle>
            <a:lvl1pPr>
              <a:defRPr sz="1200">
                <a:solidFill>
                  <a:srgbClr val="293E40"/>
                </a:solidFill>
              </a:defRPr>
            </a:lvl1pPr>
          </a:lstStyle>
          <a:p>
            <a:pPr algn="ctr" defTabSz="456582"/>
            <a:r>
              <a:rPr lang="en-CA" sz="1400" dirty="0">
                <a:solidFill>
                  <a:srgbClr val="FFFFFF"/>
                </a:solidFill>
                <a:latin typeface="Century Gothic" panose="020F0302020204030204"/>
              </a:rPr>
              <a:t>Opportunity Marketplace</a:t>
            </a:r>
          </a:p>
        </p:txBody>
      </p:sp>
      <p:grpSp>
        <p:nvGrpSpPr>
          <p:cNvPr id="122" name="Group 121">
            <a:extLst>
              <a:ext uri="{FF2B5EF4-FFF2-40B4-BE49-F238E27FC236}">
                <a16:creationId xmlns:a16="http://schemas.microsoft.com/office/drawing/2014/main" id="{D2ADC8C5-2A70-7973-ADE0-355C6781AA8A}"/>
              </a:ext>
            </a:extLst>
          </p:cNvPr>
          <p:cNvGrpSpPr>
            <a:grpSpLocks noChangeAspect="1"/>
          </p:cNvGrpSpPr>
          <p:nvPr/>
        </p:nvGrpSpPr>
        <p:grpSpPr>
          <a:xfrm>
            <a:off x="10051427" y="4196253"/>
            <a:ext cx="492809" cy="459382"/>
            <a:chOff x="8287952" y="473950"/>
            <a:chExt cx="561995" cy="523875"/>
          </a:xfrm>
          <a:solidFill>
            <a:schemeClr val="bg1"/>
          </a:solidFill>
        </p:grpSpPr>
        <p:sp>
          <p:nvSpPr>
            <p:cNvPr id="123" name="Freeform: Shape 374">
              <a:extLst>
                <a:ext uri="{FF2B5EF4-FFF2-40B4-BE49-F238E27FC236}">
                  <a16:creationId xmlns:a16="http://schemas.microsoft.com/office/drawing/2014/main" id="{DF1D05A8-7BDB-9422-BB0C-0FADB4709D80}"/>
                </a:ext>
              </a:extLst>
            </p:cNvPr>
            <p:cNvSpPr/>
            <p:nvPr/>
          </p:nvSpPr>
          <p:spPr>
            <a:xfrm>
              <a:off x="8287952" y="512050"/>
              <a:ext cx="561995" cy="485775"/>
            </a:xfrm>
            <a:custGeom>
              <a:avLst/>
              <a:gdLst>
                <a:gd name="connsiteX0" fmla="*/ 328633 w 561995"/>
                <a:gd name="connsiteY0" fmla="*/ 285750 h 485775"/>
                <a:gd name="connsiteX1" fmla="*/ 328633 w 561995"/>
                <a:gd name="connsiteY1" fmla="*/ 361950 h 485775"/>
                <a:gd name="connsiteX2" fmla="*/ 404833 w 561995"/>
                <a:gd name="connsiteY2" fmla="*/ 361950 h 485775"/>
                <a:gd name="connsiteX3" fmla="*/ 404833 w 561995"/>
                <a:gd name="connsiteY3" fmla="*/ 285750 h 485775"/>
                <a:gd name="connsiteX4" fmla="*/ 157183 w 561995"/>
                <a:gd name="connsiteY4" fmla="*/ 285750 h 485775"/>
                <a:gd name="connsiteX5" fmla="*/ 157183 w 561995"/>
                <a:gd name="connsiteY5" fmla="*/ 457200 h 485775"/>
                <a:gd name="connsiteX6" fmla="*/ 233383 w 561995"/>
                <a:gd name="connsiteY6" fmla="*/ 457200 h 485775"/>
                <a:gd name="connsiteX7" fmla="*/ 233383 w 561995"/>
                <a:gd name="connsiteY7" fmla="*/ 285750 h 485775"/>
                <a:gd name="connsiteX8" fmla="*/ 319108 w 561995"/>
                <a:gd name="connsiteY8" fmla="*/ 257175 h 485775"/>
                <a:gd name="connsiteX9" fmla="*/ 414358 w 561995"/>
                <a:gd name="connsiteY9" fmla="*/ 257175 h 485775"/>
                <a:gd name="connsiteX10" fmla="*/ 433408 w 561995"/>
                <a:gd name="connsiteY10" fmla="*/ 276225 h 485775"/>
                <a:gd name="connsiteX11" fmla="*/ 433408 w 561995"/>
                <a:gd name="connsiteY11" fmla="*/ 371475 h 485775"/>
                <a:gd name="connsiteX12" fmla="*/ 414358 w 561995"/>
                <a:gd name="connsiteY12" fmla="*/ 390525 h 485775"/>
                <a:gd name="connsiteX13" fmla="*/ 319108 w 561995"/>
                <a:gd name="connsiteY13" fmla="*/ 390525 h 485775"/>
                <a:gd name="connsiteX14" fmla="*/ 300058 w 561995"/>
                <a:gd name="connsiteY14" fmla="*/ 371475 h 485775"/>
                <a:gd name="connsiteX15" fmla="*/ 300058 w 561995"/>
                <a:gd name="connsiteY15" fmla="*/ 276225 h 485775"/>
                <a:gd name="connsiteX16" fmla="*/ 319108 w 561995"/>
                <a:gd name="connsiteY16" fmla="*/ 257175 h 485775"/>
                <a:gd name="connsiteX17" fmla="*/ 280565 w 561995"/>
                <a:gd name="connsiteY17" fmla="*/ 161637 h 485775"/>
                <a:gd name="connsiteX18" fmla="*/ 255528 w 561995"/>
                <a:gd name="connsiteY18" fmla="*/ 188357 h 485775"/>
                <a:gd name="connsiteX19" fmla="*/ 214332 w 561995"/>
                <a:gd name="connsiteY19" fmla="*/ 200025 h 485775"/>
                <a:gd name="connsiteX20" fmla="*/ 180995 w 561995"/>
                <a:gd name="connsiteY20" fmla="*/ 193358 h 485775"/>
                <a:gd name="connsiteX21" fmla="*/ 166707 w 561995"/>
                <a:gd name="connsiteY21" fmla="*/ 184785 h 485775"/>
                <a:gd name="connsiteX22" fmla="*/ 147657 w 561995"/>
                <a:gd name="connsiteY22" fmla="*/ 164783 h 485775"/>
                <a:gd name="connsiteX23" fmla="*/ 76220 w 561995"/>
                <a:gd name="connsiteY23" fmla="*/ 199073 h 485775"/>
                <a:gd name="connsiteX24" fmla="*/ 66695 w 561995"/>
                <a:gd name="connsiteY24" fmla="*/ 196361 h 485775"/>
                <a:gd name="connsiteX25" fmla="*/ 66695 w 561995"/>
                <a:gd name="connsiteY25" fmla="*/ 457200 h 485775"/>
                <a:gd name="connsiteX26" fmla="*/ 128608 w 561995"/>
                <a:gd name="connsiteY26" fmla="*/ 457200 h 485775"/>
                <a:gd name="connsiteX27" fmla="*/ 128608 w 561995"/>
                <a:gd name="connsiteY27" fmla="*/ 276225 h 485775"/>
                <a:gd name="connsiteX28" fmla="*/ 147658 w 561995"/>
                <a:gd name="connsiteY28" fmla="*/ 257175 h 485775"/>
                <a:gd name="connsiteX29" fmla="*/ 242908 w 561995"/>
                <a:gd name="connsiteY29" fmla="*/ 257175 h 485775"/>
                <a:gd name="connsiteX30" fmla="*/ 261958 w 561995"/>
                <a:gd name="connsiteY30" fmla="*/ 276225 h 485775"/>
                <a:gd name="connsiteX31" fmla="*/ 261958 w 561995"/>
                <a:gd name="connsiteY31" fmla="*/ 457200 h 485775"/>
                <a:gd name="connsiteX32" fmla="*/ 495320 w 561995"/>
                <a:gd name="connsiteY32" fmla="*/ 457200 h 485775"/>
                <a:gd name="connsiteX33" fmla="*/ 495320 w 561995"/>
                <a:gd name="connsiteY33" fmla="*/ 452438 h 485775"/>
                <a:gd name="connsiteX34" fmla="*/ 495320 w 561995"/>
                <a:gd name="connsiteY34" fmla="*/ 196090 h 485775"/>
                <a:gd name="connsiteX35" fmla="*/ 484843 w 561995"/>
                <a:gd name="connsiteY35" fmla="*/ 199073 h 485775"/>
                <a:gd name="connsiteX36" fmla="*/ 413406 w 561995"/>
                <a:gd name="connsiteY36" fmla="*/ 164783 h 485775"/>
                <a:gd name="connsiteX37" fmla="*/ 394356 w 561995"/>
                <a:gd name="connsiteY37" fmla="*/ 183833 h 485775"/>
                <a:gd name="connsiteX38" fmla="*/ 380068 w 561995"/>
                <a:gd name="connsiteY38" fmla="*/ 192405 h 485775"/>
                <a:gd name="connsiteX39" fmla="*/ 347683 w 561995"/>
                <a:gd name="connsiteY39" fmla="*/ 200025 h 485775"/>
                <a:gd name="connsiteX40" fmla="*/ 306249 w 561995"/>
                <a:gd name="connsiteY40" fmla="*/ 188238 h 485775"/>
                <a:gd name="connsiteX41" fmla="*/ 281008 w 561995"/>
                <a:gd name="connsiteY41" fmla="*/ 28575 h 485775"/>
                <a:gd name="connsiteX42" fmla="*/ 281007 w 561995"/>
                <a:gd name="connsiteY42" fmla="*/ 28575 h 485775"/>
                <a:gd name="connsiteX43" fmla="*/ 96222 w 561995"/>
                <a:gd name="connsiteY43" fmla="*/ 28575 h 485775"/>
                <a:gd name="connsiteX44" fmla="*/ 35262 w 561995"/>
                <a:gd name="connsiteY44" fmla="*/ 89535 h 485775"/>
                <a:gd name="connsiteX45" fmla="*/ 27642 w 561995"/>
                <a:gd name="connsiteY45" fmla="*/ 106680 h 485775"/>
                <a:gd name="connsiteX46" fmla="*/ 27642 w 561995"/>
                <a:gd name="connsiteY46" fmla="*/ 115253 h 485775"/>
                <a:gd name="connsiteX47" fmla="*/ 77172 w 561995"/>
                <a:gd name="connsiteY47" fmla="*/ 171450 h 485775"/>
                <a:gd name="connsiteX48" fmla="*/ 128607 w 561995"/>
                <a:gd name="connsiteY48" fmla="*/ 138113 h 485775"/>
                <a:gd name="connsiteX49" fmla="*/ 140990 w 561995"/>
                <a:gd name="connsiteY49" fmla="*/ 125730 h 485775"/>
                <a:gd name="connsiteX50" fmla="*/ 155277 w 561995"/>
                <a:gd name="connsiteY50" fmla="*/ 127635 h 485775"/>
                <a:gd name="connsiteX51" fmla="*/ 163850 w 561995"/>
                <a:gd name="connsiteY51" fmla="*/ 138113 h 485775"/>
                <a:gd name="connsiteX52" fmla="*/ 181947 w 561995"/>
                <a:gd name="connsiteY52" fmla="*/ 161925 h 485775"/>
                <a:gd name="connsiteX53" fmla="*/ 191472 w 561995"/>
                <a:gd name="connsiteY53" fmla="*/ 167640 h 485775"/>
                <a:gd name="connsiteX54" fmla="*/ 212427 w 561995"/>
                <a:gd name="connsiteY54" fmla="*/ 172403 h 485775"/>
                <a:gd name="connsiteX55" fmla="*/ 261005 w 561995"/>
                <a:gd name="connsiteY55" fmla="*/ 139065 h 485775"/>
                <a:gd name="connsiteX56" fmla="*/ 264680 w 561995"/>
                <a:gd name="connsiteY56" fmla="*/ 135390 h 485775"/>
                <a:gd name="connsiteX57" fmla="*/ 265768 w 561995"/>
                <a:gd name="connsiteY57" fmla="*/ 132398 h 485775"/>
                <a:gd name="connsiteX58" fmla="*/ 268386 w 561995"/>
                <a:gd name="connsiteY58" fmla="*/ 131684 h 485775"/>
                <a:gd name="connsiteX59" fmla="*/ 272435 w 561995"/>
                <a:gd name="connsiteY59" fmla="*/ 127635 h 485775"/>
                <a:gd name="connsiteX60" fmla="*/ 283608 w 561995"/>
                <a:gd name="connsiteY60" fmla="*/ 127532 h 485775"/>
                <a:gd name="connsiteX61" fmla="*/ 286723 w 561995"/>
                <a:gd name="connsiteY61" fmla="*/ 126682 h 485775"/>
                <a:gd name="connsiteX62" fmla="*/ 298153 w 561995"/>
                <a:gd name="connsiteY62" fmla="*/ 138113 h 485775"/>
                <a:gd name="connsiteX63" fmla="*/ 346731 w 561995"/>
                <a:gd name="connsiteY63" fmla="*/ 171450 h 485775"/>
                <a:gd name="connsiteX64" fmla="*/ 368638 w 561995"/>
                <a:gd name="connsiteY64" fmla="*/ 166688 h 485775"/>
                <a:gd name="connsiteX65" fmla="*/ 378163 w 561995"/>
                <a:gd name="connsiteY65" fmla="*/ 160973 h 485775"/>
                <a:gd name="connsiteX66" fmla="*/ 396260 w 561995"/>
                <a:gd name="connsiteY66" fmla="*/ 138113 h 485775"/>
                <a:gd name="connsiteX67" fmla="*/ 419121 w 561995"/>
                <a:gd name="connsiteY67" fmla="*/ 125730 h 485775"/>
                <a:gd name="connsiteX68" fmla="*/ 431503 w 561995"/>
                <a:gd name="connsiteY68" fmla="*/ 138113 h 485775"/>
                <a:gd name="connsiteX69" fmla="*/ 482938 w 561995"/>
                <a:gd name="connsiteY69" fmla="*/ 171450 h 485775"/>
                <a:gd name="connsiteX70" fmla="*/ 532468 w 561995"/>
                <a:gd name="connsiteY70" fmla="*/ 115253 h 485775"/>
                <a:gd name="connsiteX71" fmla="*/ 532468 w 561995"/>
                <a:gd name="connsiteY71" fmla="*/ 105728 h 485775"/>
                <a:gd name="connsiteX72" fmla="*/ 525801 w 561995"/>
                <a:gd name="connsiteY72" fmla="*/ 88582 h 485775"/>
                <a:gd name="connsiteX73" fmla="*/ 465793 w 561995"/>
                <a:gd name="connsiteY73" fmla="*/ 28575 h 485775"/>
                <a:gd name="connsiteX74" fmla="*/ 281008 w 561995"/>
                <a:gd name="connsiteY74" fmla="*/ 28575 h 485775"/>
                <a:gd name="connsiteX75" fmla="*/ 84792 w 561995"/>
                <a:gd name="connsiteY75" fmla="*/ 0 h 485775"/>
                <a:gd name="connsiteX76" fmla="*/ 281007 w 561995"/>
                <a:gd name="connsiteY76" fmla="*/ 0 h 485775"/>
                <a:gd name="connsiteX77" fmla="*/ 281008 w 561995"/>
                <a:gd name="connsiteY77" fmla="*/ 0 h 485775"/>
                <a:gd name="connsiteX78" fmla="*/ 281008 w 561995"/>
                <a:gd name="connsiteY78" fmla="*/ 0 h 485775"/>
                <a:gd name="connsiteX79" fmla="*/ 477223 w 561995"/>
                <a:gd name="connsiteY79" fmla="*/ 0 h 485775"/>
                <a:gd name="connsiteX80" fmla="*/ 545803 w 561995"/>
                <a:gd name="connsiteY80" fmla="*/ 68580 h 485775"/>
                <a:gd name="connsiteX81" fmla="*/ 561043 w 561995"/>
                <a:gd name="connsiteY81" fmla="*/ 105728 h 485775"/>
                <a:gd name="connsiteX82" fmla="*/ 561043 w 561995"/>
                <a:gd name="connsiteY82" fmla="*/ 114300 h 485775"/>
                <a:gd name="connsiteX83" fmla="*/ 539731 w 561995"/>
                <a:gd name="connsiteY83" fmla="*/ 171688 h 485775"/>
                <a:gd name="connsiteX84" fmla="*/ 523282 w 561995"/>
                <a:gd name="connsiteY84" fmla="*/ 184309 h 485775"/>
                <a:gd name="connsiteX85" fmla="*/ 523895 w 561995"/>
                <a:gd name="connsiteY85" fmla="*/ 185738 h 485775"/>
                <a:gd name="connsiteX86" fmla="*/ 523895 w 561995"/>
                <a:gd name="connsiteY86" fmla="*/ 452438 h 485775"/>
                <a:gd name="connsiteX87" fmla="*/ 523895 w 561995"/>
                <a:gd name="connsiteY87" fmla="*/ 457200 h 485775"/>
                <a:gd name="connsiteX88" fmla="*/ 547708 w 561995"/>
                <a:gd name="connsiteY88" fmla="*/ 457200 h 485775"/>
                <a:gd name="connsiteX89" fmla="*/ 561995 w 561995"/>
                <a:gd name="connsiteY89" fmla="*/ 471488 h 485775"/>
                <a:gd name="connsiteX90" fmla="*/ 547708 w 561995"/>
                <a:gd name="connsiteY90" fmla="*/ 485775 h 485775"/>
                <a:gd name="connsiteX91" fmla="*/ 509608 w 561995"/>
                <a:gd name="connsiteY91" fmla="*/ 485775 h 485775"/>
                <a:gd name="connsiteX92" fmla="*/ 261958 w 561995"/>
                <a:gd name="connsiteY92" fmla="*/ 485775 h 485775"/>
                <a:gd name="connsiteX93" fmla="*/ 128608 w 561995"/>
                <a:gd name="connsiteY93" fmla="*/ 485775 h 485775"/>
                <a:gd name="connsiteX94" fmla="*/ 52408 w 561995"/>
                <a:gd name="connsiteY94" fmla="*/ 485775 h 485775"/>
                <a:gd name="connsiteX95" fmla="*/ 14308 w 561995"/>
                <a:gd name="connsiteY95" fmla="*/ 485775 h 485775"/>
                <a:gd name="connsiteX96" fmla="*/ 20 w 561995"/>
                <a:gd name="connsiteY96" fmla="*/ 471488 h 485775"/>
                <a:gd name="connsiteX97" fmla="*/ 14308 w 561995"/>
                <a:gd name="connsiteY97" fmla="*/ 457200 h 485775"/>
                <a:gd name="connsiteX98" fmla="*/ 38120 w 561995"/>
                <a:gd name="connsiteY98" fmla="*/ 457200 h 485775"/>
                <a:gd name="connsiteX99" fmla="*/ 38120 w 561995"/>
                <a:gd name="connsiteY99" fmla="*/ 186690 h 485775"/>
                <a:gd name="connsiteX100" fmla="*/ 38804 w 561995"/>
                <a:gd name="connsiteY100" fmla="*/ 185094 h 485775"/>
                <a:gd name="connsiteX101" fmla="*/ 21332 w 561995"/>
                <a:gd name="connsiteY101" fmla="*/ 171688 h 485775"/>
                <a:gd name="connsiteX102" fmla="*/ 20 w 561995"/>
                <a:gd name="connsiteY102" fmla="*/ 114300 h 485775"/>
                <a:gd name="connsiteX103" fmla="*/ 20 w 561995"/>
                <a:gd name="connsiteY103" fmla="*/ 105728 h 485775"/>
                <a:gd name="connsiteX104" fmla="*/ 15260 w 561995"/>
                <a:gd name="connsiteY104" fmla="*/ 6858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61995" h="485775">
                  <a:moveTo>
                    <a:pt x="328633" y="285750"/>
                  </a:moveTo>
                  <a:lnTo>
                    <a:pt x="328633" y="361950"/>
                  </a:lnTo>
                  <a:lnTo>
                    <a:pt x="404833" y="361950"/>
                  </a:lnTo>
                  <a:lnTo>
                    <a:pt x="404833" y="285750"/>
                  </a:lnTo>
                  <a:close/>
                  <a:moveTo>
                    <a:pt x="157183" y="285750"/>
                  </a:moveTo>
                  <a:lnTo>
                    <a:pt x="157183" y="457200"/>
                  </a:lnTo>
                  <a:lnTo>
                    <a:pt x="233383" y="457200"/>
                  </a:lnTo>
                  <a:lnTo>
                    <a:pt x="233383" y="285750"/>
                  </a:lnTo>
                  <a:close/>
                  <a:moveTo>
                    <a:pt x="319108" y="257175"/>
                  </a:moveTo>
                  <a:lnTo>
                    <a:pt x="414358" y="257175"/>
                  </a:lnTo>
                  <a:cubicBezTo>
                    <a:pt x="424835" y="257175"/>
                    <a:pt x="433408" y="265748"/>
                    <a:pt x="433408" y="276225"/>
                  </a:cubicBezTo>
                  <a:lnTo>
                    <a:pt x="433408" y="371475"/>
                  </a:lnTo>
                  <a:cubicBezTo>
                    <a:pt x="433408" y="381952"/>
                    <a:pt x="424835" y="390525"/>
                    <a:pt x="414358" y="390525"/>
                  </a:cubicBezTo>
                  <a:lnTo>
                    <a:pt x="319108" y="390525"/>
                  </a:lnTo>
                  <a:cubicBezTo>
                    <a:pt x="308631" y="390525"/>
                    <a:pt x="300058" y="381952"/>
                    <a:pt x="300058" y="371475"/>
                  </a:cubicBezTo>
                  <a:lnTo>
                    <a:pt x="300058" y="276225"/>
                  </a:lnTo>
                  <a:cubicBezTo>
                    <a:pt x="300058" y="265748"/>
                    <a:pt x="308631" y="257175"/>
                    <a:pt x="319108" y="257175"/>
                  </a:cubicBezTo>
                  <a:close/>
                  <a:moveTo>
                    <a:pt x="280565" y="161637"/>
                  </a:moveTo>
                  <a:lnTo>
                    <a:pt x="255528" y="188357"/>
                  </a:lnTo>
                  <a:cubicBezTo>
                    <a:pt x="243384" y="195739"/>
                    <a:pt x="229096" y="200025"/>
                    <a:pt x="214332" y="200025"/>
                  </a:cubicBezTo>
                  <a:cubicBezTo>
                    <a:pt x="202902" y="200025"/>
                    <a:pt x="191472" y="198120"/>
                    <a:pt x="180995" y="193358"/>
                  </a:cubicBezTo>
                  <a:cubicBezTo>
                    <a:pt x="176232" y="190500"/>
                    <a:pt x="171470" y="187643"/>
                    <a:pt x="166707" y="184785"/>
                  </a:cubicBezTo>
                  <a:cubicBezTo>
                    <a:pt x="159087" y="179070"/>
                    <a:pt x="152420" y="172403"/>
                    <a:pt x="147657" y="164783"/>
                  </a:cubicBezTo>
                  <a:cubicBezTo>
                    <a:pt x="131465" y="187643"/>
                    <a:pt x="104795" y="200978"/>
                    <a:pt x="76220" y="199073"/>
                  </a:cubicBezTo>
                  <a:lnTo>
                    <a:pt x="66695" y="196361"/>
                  </a:lnTo>
                  <a:lnTo>
                    <a:pt x="66695" y="457200"/>
                  </a:lnTo>
                  <a:lnTo>
                    <a:pt x="128608" y="457200"/>
                  </a:lnTo>
                  <a:lnTo>
                    <a:pt x="128608" y="276225"/>
                  </a:lnTo>
                  <a:cubicBezTo>
                    <a:pt x="128608" y="265748"/>
                    <a:pt x="137180" y="257175"/>
                    <a:pt x="147658" y="257175"/>
                  </a:cubicBezTo>
                  <a:lnTo>
                    <a:pt x="242908" y="257175"/>
                  </a:lnTo>
                  <a:cubicBezTo>
                    <a:pt x="253386" y="257175"/>
                    <a:pt x="261958" y="265748"/>
                    <a:pt x="261958" y="276225"/>
                  </a:cubicBezTo>
                  <a:lnTo>
                    <a:pt x="261958" y="457200"/>
                  </a:lnTo>
                  <a:lnTo>
                    <a:pt x="495320" y="457200"/>
                  </a:lnTo>
                  <a:lnTo>
                    <a:pt x="495320" y="452438"/>
                  </a:lnTo>
                  <a:lnTo>
                    <a:pt x="495320" y="196090"/>
                  </a:lnTo>
                  <a:lnTo>
                    <a:pt x="484843" y="199073"/>
                  </a:lnTo>
                  <a:cubicBezTo>
                    <a:pt x="456268" y="200978"/>
                    <a:pt x="428646" y="187643"/>
                    <a:pt x="413406" y="164783"/>
                  </a:cubicBezTo>
                  <a:cubicBezTo>
                    <a:pt x="408643" y="172403"/>
                    <a:pt x="401976" y="179070"/>
                    <a:pt x="394356" y="183833"/>
                  </a:cubicBezTo>
                  <a:cubicBezTo>
                    <a:pt x="389593" y="186690"/>
                    <a:pt x="384831" y="189548"/>
                    <a:pt x="380068" y="192405"/>
                  </a:cubicBezTo>
                  <a:cubicBezTo>
                    <a:pt x="370543" y="198120"/>
                    <a:pt x="359113" y="200025"/>
                    <a:pt x="347683" y="200025"/>
                  </a:cubicBezTo>
                  <a:cubicBezTo>
                    <a:pt x="332919" y="200025"/>
                    <a:pt x="318632" y="195739"/>
                    <a:pt x="306249" y="188238"/>
                  </a:cubicBezTo>
                  <a:close/>
                  <a:moveTo>
                    <a:pt x="281008" y="28575"/>
                  </a:moveTo>
                  <a:lnTo>
                    <a:pt x="281007" y="28575"/>
                  </a:lnTo>
                  <a:lnTo>
                    <a:pt x="96222" y="28575"/>
                  </a:lnTo>
                  <a:lnTo>
                    <a:pt x="35262" y="89535"/>
                  </a:lnTo>
                  <a:cubicBezTo>
                    <a:pt x="30500" y="94298"/>
                    <a:pt x="28595" y="100013"/>
                    <a:pt x="27642" y="106680"/>
                  </a:cubicBezTo>
                  <a:lnTo>
                    <a:pt x="27642" y="115253"/>
                  </a:lnTo>
                  <a:cubicBezTo>
                    <a:pt x="26690" y="143828"/>
                    <a:pt x="48597" y="168593"/>
                    <a:pt x="77172" y="171450"/>
                  </a:cubicBezTo>
                  <a:cubicBezTo>
                    <a:pt x="99080" y="172403"/>
                    <a:pt x="120035" y="159068"/>
                    <a:pt x="128607" y="138113"/>
                  </a:cubicBezTo>
                  <a:cubicBezTo>
                    <a:pt x="130512" y="132398"/>
                    <a:pt x="135275" y="127635"/>
                    <a:pt x="140990" y="125730"/>
                  </a:cubicBezTo>
                  <a:cubicBezTo>
                    <a:pt x="145752" y="124778"/>
                    <a:pt x="150515" y="124778"/>
                    <a:pt x="155277" y="127635"/>
                  </a:cubicBezTo>
                  <a:cubicBezTo>
                    <a:pt x="159087" y="129540"/>
                    <a:pt x="162897" y="133350"/>
                    <a:pt x="163850" y="138113"/>
                  </a:cubicBezTo>
                  <a:cubicBezTo>
                    <a:pt x="167660" y="147638"/>
                    <a:pt x="173375" y="155258"/>
                    <a:pt x="181947" y="161925"/>
                  </a:cubicBezTo>
                  <a:cubicBezTo>
                    <a:pt x="184805" y="163830"/>
                    <a:pt x="188615" y="165735"/>
                    <a:pt x="191472" y="167640"/>
                  </a:cubicBezTo>
                  <a:cubicBezTo>
                    <a:pt x="198140" y="170498"/>
                    <a:pt x="205760" y="172403"/>
                    <a:pt x="212427" y="172403"/>
                  </a:cubicBezTo>
                  <a:cubicBezTo>
                    <a:pt x="234335" y="172403"/>
                    <a:pt x="253385" y="159068"/>
                    <a:pt x="261005" y="139065"/>
                  </a:cubicBezTo>
                  <a:lnTo>
                    <a:pt x="264680" y="135390"/>
                  </a:lnTo>
                  <a:lnTo>
                    <a:pt x="265768" y="132398"/>
                  </a:lnTo>
                  <a:lnTo>
                    <a:pt x="268386" y="131684"/>
                  </a:lnTo>
                  <a:lnTo>
                    <a:pt x="272435" y="127635"/>
                  </a:lnTo>
                  <a:lnTo>
                    <a:pt x="283608" y="127532"/>
                  </a:lnTo>
                  <a:lnTo>
                    <a:pt x="286723" y="126682"/>
                  </a:lnTo>
                  <a:cubicBezTo>
                    <a:pt x="292438" y="128588"/>
                    <a:pt x="296248" y="132398"/>
                    <a:pt x="298153" y="138113"/>
                  </a:cubicBezTo>
                  <a:cubicBezTo>
                    <a:pt x="305773" y="158115"/>
                    <a:pt x="325776" y="171450"/>
                    <a:pt x="346731" y="171450"/>
                  </a:cubicBezTo>
                  <a:cubicBezTo>
                    <a:pt x="354351" y="171450"/>
                    <a:pt x="361971" y="169545"/>
                    <a:pt x="368638" y="166688"/>
                  </a:cubicBezTo>
                  <a:cubicBezTo>
                    <a:pt x="371496" y="165735"/>
                    <a:pt x="375306" y="162878"/>
                    <a:pt x="378163" y="160973"/>
                  </a:cubicBezTo>
                  <a:cubicBezTo>
                    <a:pt x="385783" y="155258"/>
                    <a:pt x="392451" y="146685"/>
                    <a:pt x="396260" y="138113"/>
                  </a:cubicBezTo>
                  <a:cubicBezTo>
                    <a:pt x="399118" y="128588"/>
                    <a:pt x="409596" y="122873"/>
                    <a:pt x="419121" y="125730"/>
                  </a:cubicBezTo>
                  <a:cubicBezTo>
                    <a:pt x="424835" y="127635"/>
                    <a:pt x="429598" y="131445"/>
                    <a:pt x="431503" y="138113"/>
                  </a:cubicBezTo>
                  <a:cubicBezTo>
                    <a:pt x="440076" y="159068"/>
                    <a:pt x="460078" y="172403"/>
                    <a:pt x="482938" y="171450"/>
                  </a:cubicBezTo>
                  <a:cubicBezTo>
                    <a:pt x="511513" y="168593"/>
                    <a:pt x="533421" y="144780"/>
                    <a:pt x="532468" y="115253"/>
                  </a:cubicBezTo>
                  <a:lnTo>
                    <a:pt x="532468" y="105728"/>
                  </a:lnTo>
                  <a:cubicBezTo>
                    <a:pt x="532468" y="99060"/>
                    <a:pt x="529611" y="93345"/>
                    <a:pt x="525801" y="88582"/>
                  </a:cubicBezTo>
                  <a:lnTo>
                    <a:pt x="465793" y="28575"/>
                  </a:lnTo>
                  <a:lnTo>
                    <a:pt x="281008" y="28575"/>
                  </a:lnTo>
                  <a:close/>
                  <a:moveTo>
                    <a:pt x="84792" y="0"/>
                  </a:moveTo>
                  <a:lnTo>
                    <a:pt x="281007" y="0"/>
                  </a:lnTo>
                  <a:lnTo>
                    <a:pt x="281008" y="0"/>
                  </a:lnTo>
                  <a:lnTo>
                    <a:pt x="281008" y="0"/>
                  </a:lnTo>
                  <a:lnTo>
                    <a:pt x="477223" y="0"/>
                  </a:lnTo>
                  <a:lnTo>
                    <a:pt x="545803" y="68580"/>
                  </a:lnTo>
                  <a:cubicBezTo>
                    <a:pt x="555328" y="78105"/>
                    <a:pt x="561043" y="91440"/>
                    <a:pt x="561043" y="105728"/>
                  </a:cubicBezTo>
                  <a:lnTo>
                    <a:pt x="561043" y="114300"/>
                  </a:lnTo>
                  <a:cubicBezTo>
                    <a:pt x="561519" y="136208"/>
                    <a:pt x="553423" y="156448"/>
                    <a:pt x="539731" y="171688"/>
                  </a:cubicBezTo>
                  <a:lnTo>
                    <a:pt x="523282" y="184309"/>
                  </a:lnTo>
                  <a:lnTo>
                    <a:pt x="523895" y="185738"/>
                  </a:lnTo>
                  <a:lnTo>
                    <a:pt x="523895" y="452438"/>
                  </a:lnTo>
                  <a:lnTo>
                    <a:pt x="523895" y="457200"/>
                  </a:lnTo>
                  <a:lnTo>
                    <a:pt x="547708" y="457200"/>
                  </a:lnTo>
                  <a:cubicBezTo>
                    <a:pt x="555328" y="457200"/>
                    <a:pt x="561995" y="463868"/>
                    <a:pt x="561995" y="471488"/>
                  </a:cubicBezTo>
                  <a:cubicBezTo>
                    <a:pt x="561995" y="479107"/>
                    <a:pt x="555328" y="485775"/>
                    <a:pt x="547708" y="485775"/>
                  </a:cubicBezTo>
                  <a:lnTo>
                    <a:pt x="509608" y="485775"/>
                  </a:lnTo>
                  <a:lnTo>
                    <a:pt x="261958" y="485775"/>
                  </a:lnTo>
                  <a:lnTo>
                    <a:pt x="128608" y="485775"/>
                  </a:lnTo>
                  <a:lnTo>
                    <a:pt x="52408" y="485775"/>
                  </a:lnTo>
                  <a:lnTo>
                    <a:pt x="14308" y="485775"/>
                  </a:lnTo>
                  <a:cubicBezTo>
                    <a:pt x="6688" y="485775"/>
                    <a:pt x="20" y="479107"/>
                    <a:pt x="20" y="471488"/>
                  </a:cubicBezTo>
                  <a:cubicBezTo>
                    <a:pt x="20" y="463868"/>
                    <a:pt x="6688" y="457200"/>
                    <a:pt x="14308" y="457200"/>
                  </a:cubicBezTo>
                  <a:lnTo>
                    <a:pt x="38120" y="457200"/>
                  </a:lnTo>
                  <a:lnTo>
                    <a:pt x="38120" y="186690"/>
                  </a:lnTo>
                  <a:lnTo>
                    <a:pt x="38804" y="185094"/>
                  </a:lnTo>
                  <a:lnTo>
                    <a:pt x="21332" y="171688"/>
                  </a:lnTo>
                  <a:cubicBezTo>
                    <a:pt x="7640" y="156448"/>
                    <a:pt x="-457" y="136208"/>
                    <a:pt x="20" y="114300"/>
                  </a:cubicBezTo>
                  <a:lnTo>
                    <a:pt x="20" y="105728"/>
                  </a:lnTo>
                  <a:cubicBezTo>
                    <a:pt x="20" y="91440"/>
                    <a:pt x="5735" y="78105"/>
                    <a:pt x="15260" y="68580"/>
                  </a:cubicBezTo>
                  <a:close/>
                </a:path>
              </a:pathLst>
            </a:custGeom>
            <a:grpFill/>
            <a:ln w="9525" cap="flat">
              <a:noFill/>
              <a:prstDash val="solid"/>
              <a:miter/>
            </a:ln>
          </p:spPr>
          <p:txBody>
            <a:bodyPr rtlCol="0" anchor="ctr"/>
            <a:lstStyle/>
            <a:p>
              <a:endParaRPr lang="en-US" dirty="0"/>
            </a:p>
          </p:txBody>
        </p:sp>
        <p:sp>
          <p:nvSpPr>
            <p:cNvPr id="124" name="Freeform: Shape 384">
              <a:extLst>
                <a:ext uri="{FF2B5EF4-FFF2-40B4-BE49-F238E27FC236}">
                  <a16:creationId xmlns:a16="http://schemas.microsoft.com/office/drawing/2014/main" id="{D5F38349-E197-98F5-5CB8-0840A29CC9E7}"/>
                </a:ext>
              </a:extLst>
            </p:cNvPr>
            <p:cNvSpPr/>
            <p:nvPr/>
          </p:nvSpPr>
          <p:spPr>
            <a:xfrm>
              <a:off x="8421322" y="473950"/>
              <a:ext cx="295275" cy="104775"/>
            </a:xfrm>
            <a:custGeom>
              <a:avLst/>
              <a:gdLst>
                <a:gd name="connsiteX0" fmla="*/ 14288 w 295275"/>
                <a:gd name="connsiteY0" fmla="*/ 0 h 104775"/>
                <a:gd name="connsiteX1" fmla="*/ 280988 w 295275"/>
                <a:gd name="connsiteY1" fmla="*/ 0 h 104775"/>
                <a:gd name="connsiteX2" fmla="*/ 295275 w 295275"/>
                <a:gd name="connsiteY2" fmla="*/ 14288 h 104775"/>
                <a:gd name="connsiteX3" fmla="*/ 295275 w 295275"/>
                <a:gd name="connsiteY3" fmla="*/ 90488 h 104775"/>
                <a:gd name="connsiteX4" fmla="*/ 280988 w 295275"/>
                <a:gd name="connsiteY4" fmla="*/ 104775 h 104775"/>
                <a:gd name="connsiteX5" fmla="*/ 14288 w 295275"/>
                <a:gd name="connsiteY5" fmla="*/ 104775 h 104775"/>
                <a:gd name="connsiteX6" fmla="*/ 0 w 295275"/>
                <a:gd name="connsiteY6" fmla="*/ 90488 h 104775"/>
                <a:gd name="connsiteX7" fmla="*/ 0 w 295275"/>
                <a:gd name="connsiteY7" fmla="*/ 14288 h 104775"/>
                <a:gd name="connsiteX8" fmla="*/ 14288 w 295275"/>
                <a:gd name="connsiteY8" fmla="*/ 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04775">
                  <a:moveTo>
                    <a:pt x="14288" y="0"/>
                  </a:moveTo>
                  <a:lnTo>
                    <a:pt x="280988" y="0"/>
                  </a:lnTo>
                  <a:cubicBezTo>
                    <a:pt x="288608" y="0"/>
                    <a:pt x="295275" y="6667"/>
                    <a:pt x="295275" y="14288"/>
                  </a:cubicBezTo>
                  <a:lnTo>
                    <a:pt x="295275" y="90488"/>
                  </a:lnTo>
                  <a:cubicBezTo>
                    <a:pt x="295275" y="98108"/>
                    <a:pt x="288608" y="104775"/>
                    <a:pt x="280988" y="104775"/>
                  </a:cubicBezTo>
                  <a:lnTo>
                    <a:pt x="14288" y="104775"/>
                  </a:lnTo>
                  <a:cubicBezTo>
                    <a:pt x="6668" y="104775"/>
                    <a:pt x="0" y="98108"/>
                    <a:pt x="0" y="90488"/>
                  </a:cubicBezTo>
                  <a:lnTo>
                    <a:pt x="0" y="14288"/>
                  </a:lnTo>
                  <a:cubicBezTo>
                    <a:pt x="0" y="6667"/>
                    <a:pt x="6668" y="0"/>
                    <a:pt x="14288" y="0"/>
                  </a:cubicBezTo>
                  <a:close/>
                </a:path>
              </a:pathLst>
            </a:custGeom>
            <a:solidFill>
              <a:schemeClr val="accent1"/>
            </a:solidFill>
            <a:ln w="9525" cap="flat">
              <a:noFill/>
              <a:prstDash val="solid"/>
              <a:miter/>
            </a:ln>
          </p:spPr>
          <p:txBody>
            <a:bodyPr rtlCol="0" anchor="ctr"/>
            <a:lstStyle/>
            <a:p>
              <a:endParaRPr lang="en-US" dirty="0"/>
            </a:p>
          </p:txBody>
        </p:sp>
      </p:grpSp>
      <p:grpSp>
        <p:nvGrpSpPr>
          <p:cNvPr id="125" name="Group 124">
            <a:extLst>
              <a:ext uri="{FF2B5EF4-FFF2-40B4-BE49-F238E27FC236}">
                <a16:creationId xmlns:a16="http://schemas.microsoft.com/office/drawing/2014/main" id="{2FC391C7-29A6-F61C-60AC-68CFCD73EE68}"/>
              </a:ext>
            </a:extLst>
          </p:cNvPr>
          <p:cNvGrpSpPr>
            <a:grpSpLocks noChangeAspect="1"/>
          </p:cNvGrpSpPr>
          <p:nvPr/>
        </p:nvGrpSpPr>
        <p:grpSpPr>
          <a:xfrm>
            <a:off x="1547507" y="4291351"/>
            <a:ext cx="492809" cy="529281"/>
            <a:chOff x="1662785" y="1145915"/>
            <a:chExt cx="355320" cy="381619"/>
          </a:xfrm>
          <a:solidFill>
            <a:schemeClr val="accent1"/>
          </a:solidFill>
        </p:grpSpPr>
        <p:sp>
          <p:nvSpPr>
            <p:cNvPr id="126" name="Freeform 1">
              <a:extLst>
                <a:ext uri="{FF2B5EF4-FFF2-40B4-BE49-F238E27FC236}">
                  <a16:creationId xmlns:a16="http://schemas.microsoft.com/office/drawing/2014/main" id="{1F8CA0B6-6D99-A348-11E1-41B11A4739F0}"/>
                </a:ext>
              </a:extLst>
            </p:cNvPr>
            <p:cNvSpPr>
              <a:spLocks noChangeArrowheads="1"/>
            </p:cNvSpPr>
            <p:nvPr/>
          </p:nvSpPr>
          <p:spPr bwMode="auto">
            <a:xfrm>
              <a:off x="1799084" y="1145915"/>
              <a:ext cx="69671" cy="69573"/>
            </a:xfrm>
            <a:custGeom>
              <a:avLst/>
              <a:gdLst>
                <a:gd name="T0" fmla="*/ 412187 w 3131"/>
                <a:gd name="T1" fmla="*/ 458419 h 3128"/>
                <a:gd name="T2" fmla="*/ 458986 w 3131"/>
                <a:gd name="T3" fmla="*/ 411642 h 3128"/>
                <a:gd name="T4" fmla="*/ 509024 w 3131"/>
                <a:gd name="T5" fmla="*/ 62970 h 3128"/>
                <a:gd name="T6" fmla="*/ 618101 w 3131"/>
                <a:gd name="T7" fmla="*/ 62970 h 3128"/>
                <a:gd name="T8" fmla="*/ 668139 w 3131"/>
                <a:gd name="T9" fmla="*/ 411642 h 3128"/>
                <a:gd name="T10" fmla="*/ 714578 w 3131"/>
                <a:gd name="T11" fmla="*/ 458419 h 3128"/>
                <a:gd name="T12" fmla="*/ 1063767 w 3131"/>
                <a:gd name="T13" fmla="*/ 508075 h 3128"/>
                <a:gd name="T14" fmla="*/ 1063767 w 3131"/>
                <a:gd name="T15" fmla="*/ 617103 h 3128"/>
                <a:gd name="T16" fmla="*/ 714578 w 3131"/>
                <a:gd name="T17" fmla="*/ 666759 h 3128"/>
                <a:gd name="T18" fmla="*/ 668139 w 3131"/>
                <a:gd name="T19" fmla="*/ 713536 h 3128"/>
                <a:gd name="T20" fmla="*/ 618101 w 3131"/>
                <a:gd name="T21" fmla="*/ 1062208 h 3128"/>
                <a:gd name="T22" fmla="*/ 509024 w 3131"/>
                <a:gd name="T23" fmla="*/ 1062208 h 3128"/>
                <a:gd name="T24" fmla="*/ 458986 w 3131"/>
                <a:gd name="T25" fmla="*/ 713536 h 3128"/>
                <a:gd name="T26" fmla="*/ 412187 w 3131"/>
                <a:gd name="T27" fmla="*/ 666759 h 3128"/>
                <a:gd name="T28" fmla="*/ 63358 w 3131"/>
                <a:gd name="T29" fmla="*/ 617103 h 3128"/>
                <a:gd name="T30" fmla="*/ 63358 w 3131"/>
                <a:gd name="T31" fmla="*/ 508075 h 3128"/>
                <a:gd name="T32" fmla="*/ 412187 w 3131"/>
                <a:gd name="T33" fmla="*/ 458419 h 3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31" h="3128">
                  <a:moveTo>
                    <a:pt x="1145" y="1274"/>
                  </a:moveTo>
                  <a:cubicBezTo>
                    <a:pt x="1213" y="1264"/>
                    <a:pt x="1266" y="1211"/>
                    <a:pt x="1275" y="1144"/>
                  </a:cubicBezTo>
                  <a:lnTo>
                    <a:pt x="1414" y="175"/>
                  </a:lnTo>
                  <a:cubicBezTo>
                    <a:pt x="1439" y="0"/>
                    <a:pt x="1692" y="0"/>
                    <a:pt x="1717" y="175"/>
                  </a:cubicBezTo>
                  <a:lnTo>
                    <a:pt x="1856" y="1144"/>
                  </a:lnTo>
                  <a:cubicBezTo>
                    <a:pt x="1866" y="1211"/>
                    <a:pt x="1918" y="1264"/>
                    <a:pt x="1985" y="1274"/>
                  </a:cubicBezTo>
                  <a:lnTo>
                    <a:pt x="2955" y="1412"/>
                  </a:lnTo>
                  <a:cubicBezTo>
                    <a:pt x="3130" y="1437"/>
                    <a:pt x="3130" y="1690"/>
                    <a:pt x="2955" y="1715"/>
                  </a:cubicBezTo>
                  <a:lnTo>
                    <a:pt x="1985" y="1853"/>
                  </a:lnTo>
                  <a:cubicBezTo>
                    <a:pt x="1918" y="1863"/>
                    <a:pt x="1866" y="1916"/>
                    <a:pt x="1856" y="1983"/>
                  </a:cubicBezTo>
                  <a:lnTo>
                    <a:pt x="1717" y="2952"/>
                  </a:lnTo>
                  <a:cubicBezTo>
                    <a:pt x="1692" y="3127"/>
                    <a:pt x="1439" y="3127"/>
                    <a:pt x="1414" y="2952"/>
                  </a:cubicBezTo>
                  <a:lnTo>
                    <a:pt x="1275" y="1983"/>
                  </a:lnTo>
                  <a:cubicBezTo>
                    <a:pt x="1266" y="1916"/>
                    <a:pt x="1213" y="1863"/>
                    <a:pt x="1145" y="1853"/>
                  </a:cubicBezTo>
                  <a:lnTo>
                    <a:pt x="176" y="1715"/>
                  </a:lnTo>
                  <a:cubicBezTo>
                    <a:pt x="0" y="1690"/>
                    <a:pt x="0" y="1437"/>
                    <a:pt x="176" y="1412"/>
                  </a:cubicBezTo>
                  <a:lnTo>
                    <a:pt x="1145" y="12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40" tIns="45720" rIns="91440" bIns="45720" anchor="ctr"/>
            <a:lstStyle/>
            <a:p>
              <a:pPr algn="ctr" defTabSz="456766">
                <a:defRPr/>
              </a:pPr>
              <a:endParaRPr lang="en-US" sz="1797" dirty="0">
                <a:solidFill>
                  <a:srgbClr val="FFFFFF"/>
                </a:solidFill>
                <a:latin typeface="Century Gothic" panose="020F0302020204030204"/>
              </a:endParaRPr>
            </a:p>
          </p:txBody>
        </p:sp>
        <p:sp>
          <p:nvSpPr>
            <p:cNvPr id="127" name="Freeform 2">
              <a:extLst>
                <a:ext uri="{FF2B5EF4-FFF2-40B4-BE49-F238E27FC236}">
                  <a16:creationId xmlns:a16="http://schemas.microsoft.com/office/drawing/2014/main" id="{812A2CC2-7C23-8192-2188-BF598DB169CF}"/>
                </a:ext>
              </a:extLst>
            </p:cNvPr>
            <p:cNvSpPr>
              <a:spLocks noChangeArrowheads="1"/>
            </p:cNvSpPr>
            <p:nvPr/>
          </p:nvSpPr>
          <p:spPr bwMode="auto">
            <a:xfrm>
              <a:off x="1662785" y="1239725"/>
              <a:ext cx="288103" cy="287809"/>
            </a:xfrm>
            <a:custGeom>
              <a:avLst/>
              <a:gdLst>
                <a:gd name="T0" fmla="*/ 1848232 w 12947"/>
                <a:gd name="T1" fmla="*/ 1934177 h 12932"/>
                <a:gd name="T2" fmla="*/ 1936432 w 12947"/>
                <a:gd name="T3" fmla="*/ 1846325 h 12932"/>
                <a:gd name="T4" fmla="*/ 2224430 w 12947"/>
                <a:gd name="T5" fmla="*/ 119536 h 12932"/>
                <a:gd name="T6" fmla="*/ 2436110 w 12947"/>
                <a:gd name="T7" fmla="*/ 119536 h 12932"/>
                <a:gd name="T8" fmla="*/ 2724468 w 12947"/>
                <a:gd name="T9" fmla="*/ 1846325 h 12932"/>
                <a:gd name="T10" fmla="*/ 2812668 w 12947"/>
                <a:gd name="T11" fmla="*/ 1934177 h 12932"/>
                <a:gd name="T12" fmla="*/ 4541021 w 12947"/>
                <a:gd name="T13" fmla="*/ 2222215 h 12932"/>
                <a:gd name="T14" fmla="*/ 4541021 w 12947"/>
                <a:gd name="T15" fmla="*/ 2433563 h 12932"/>
                <a:gd name="T16" fmla="*/ 2812668 w 12947"/>
                <a:gd name="T17" fmla="*/ 2721241 h 12932"/>
                <a:gd name="T18" fmla="*/ 2724468 w 12947"/>
                <a:gd name="T19" fmla="*/ 2809453 h 12932"/>
                <a:gd name="T20" fmla="*/ 2436110 w 12947"/>
                <a:gd name="T21" fmla="*/ 4536602 h 12932"/>
                <a:gd name="T22" fmla="*/ 2224430 w 12947"/>
                <a:gd name="T23" fmla="*/ 4536602 h 12932"/>
                <a:gd name="T24" fmla="*/ 1936432 w 12947"/>
                <a:gd name="T25" fmla="*/ 2809453 h 12932"/>
                <a:gd name="T26" fmla="*/ 1848232 w 12947"/>
                <a:gd name="T27" fmla="*/ 2721241 h 12932"/>
                <a:gd name="T28" fmla="*/ 119519 w 12947"/>
                <a:gd name="T29" fmla="*/ 2433563 h 12932"/>
                <a:gd name="T30" fmla="*/ 119519 w 12947"/>
                <a:gd name="T31" fmla="*/ 2222215 h 12932"/>
                <a:gd name="T32" fmla="*/ 1848232 w 12947"/>
                <a:gd name="T33" fmla="*/ 1934177 h 129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947" h="12932">
                  <a:moveTo>
                    <a:pt x="5134" y="5372"/>
                  </a:moveTo>
                  <a:cubicBezTo>
                    <a:pt x="5260" y="5351"/>
                    <a:pt x="5358" y="5253"/>
                    <a:pt x="5379" y="5128"/>
                  </a:cubicBezTo>
                  <a:lnTo>
                    <a:pt x="6179" y="332"/>
                  </a:lnTo>
                  <a:cubicBezTo>
                    <a:pt x="6235" y="0"/>
                    <a:pt x="6712" y="0"/>
                    <a:pt x="6767" y="332"/>
                  </a:cubicBezTo>
                  <a:lnTo>
                    <a:pt x="7568" y="5128"/>
                  </a:lnTo>
                  <a:cubicBezTo>
                    <a:pt x="7589" y="5253"/>
                    <a:pt x="7687" y="5351"/>
                    <a:pt x="7813" y="5372"/>
                  </a:cubicBezTo>
                  <a:lnTo>
                    <a:pt x="12614" y="6172"/>
                  </a:lnTo>
                  <a:cubicBezTo>
                    <a:pt x="12946" y="6227"/>
                    <a:pt x="12946" y="6704"/>
                    <a:pt x="12614" y="6759"/>
                  </a:cubicBezTo>
                  <a:lnTo>
                    <a:pt x="7813" y="7558"/>
                  </a:lnTo>
                  <a:cubicBezTo>
                    <a:pt x="7687" y="7579"/>
                    <a:pt x="7589" y="7677"/>
                    <a:pt x="7568" y="7803"/>
                  </a:cubicBezTo>
                  <a:lnTo>
                    <a:pt x="6767" y="12600"/>
                  </a:lnTo>
                  <a:cubicBezTo>
                    <a:pt x="6712" y="12931"/>
                    <a:pt x="6235" y="12931"/>
                    <a:pt x="6179" y="12600"/>
                  </a:cubicBezTo>
                  <a:lnTo>
                    <a:pt x="5379" y="7803"/>
                  </a:lnTo>
                  <a:cubicBezTo>
                    <a:pt x="5358" y="7677"/>
                    <a:pt x="5260" y="7579"/>
                    <a:pt x="5134" y="7558"/>
                  </a:cubicBezTo>
                  <a:lnTo>
                    <a:pt x="332" y="6759"/>
                  </a:lnTo>
                  <a:cubicBezTo>
                    <a:pt x="0" y="6704"/>
                    <a:pt x="0" y="6227"/>
                    <a:pt x="332" y="6172"/>
                  </a:cubicBezTo>
                  <a:lnTo>
                    <a:pt x="5134" y="537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40" tIns="45720" rIns="91440" bIns="45720" anchor="ctr"/>
            <a:lstStyle/>
            <a:p>
              <a:pPr algn="ctr" defTabSz="456766">
                <a:defRPr/>
              </a:pPr>
              <a:endParaRPr lang="en-US" sz="1797" dirty="0">
                <a:solidFill>
                  <a:srgbClr val="FFFFFF"/>
                </a:solidFill>
                <a:latin typeface="Century Gothic" panose="020F0302020204030204"/>
              </a:endParaRPr>
            </a:p>
          </p:txBody>
        </p:sp>
        <p:sp>
          <p:nvSpPr>
            <p:cNvPr id="128" name="Freeform 3">
              <a:extLst>
                <a:ext uri="{FF2B5EF4-FFF2-40B4-BE49-F238E27FC236}">
                  <a16:creationId xmlns:a16="http://schemas.microsoft.com/office/drawing/2014/main" id="{C7225235-F73F-CC12-27E0-9943017F1F9F}"/>
                </a:ext>
              </a:extLst>
            </p:cNvPr>
            <p:cNvSpPr>
              <a:spLocks noChangeArrowheads="1"/>
            </p:cNvSpPr>
            <p:nvPr/>
          </p:nvSpPr>
          <p:spPr bwMode="auto">
            <a:xfrm>
              <a:off x="1866400" y="1172606"/>
              <a:ext cx="151705" cy="151509"/>
            </a:xfrm>
            <a:custGeom>
              <a:avLst/>
              <a:gdLst>
                <a:gd name="T0" fmla="*/ 917338 w 6817"/>
                <a:gd name="T1" fmla="*/ 979864 h 6809"/>
                <a:gd name="T2" fmla="*/ 981062 w 6817"/>
                <a:gd name="T3" fmla="*/ 916148 h 6809"/>
                <a:gd name="T4" fmla="*/ 1147032 w 6817"/>
                <a:gd name="T5" fmla="*/ 87115 h 6809"/>
                <a:gd name="T6" fmla="*/ 1306523 w 6817"/>
                <a:gd name="T7" fmla="*/ 87115 h 6809"/>
                <a:gd name="T8" fmla="*/ 1472493 w 6817"/>
                <a:gd name="T9" fmla="*/ 916148 h 6809"/>
                <a:gd name="T10" fmla="*/ 1536577 w 6817"/>
                <a:gd name="T11" fmla="*/ 979864 h 6809"/>
                <a:gd name="T12" fmla="*/ 2366789 w 6817"/>
                <a:gd name="T13" fmla="*/ 1145815 h 6809"/>
                <a:gd name="T14" fmla="*/ 2366789 w 6817"/>
                <a:gd name="T15" fmla="*/ 1304925 h 6809"/>
                <a:gd name="T16" fmla="*/ 1536577 w 6817"/>
                <a:gd name="T17" fmla="*/ 1470876 h 6809"/>
                <a:gd name="T18" fmla="*/ 1472493 w 6817"/>
                <a:gd name="T19" fmla="*/ 1534592 h 6809"/>
                <a:gd name="T20" fmla="*/ 1306523 w 6817"/>
                <a:gd name="T21" fmla="*/ 2363625 h 6809"/>
                <a:gd name="T22" fmla="*/ 1147032 w 6817"/>
                <a:gd name="T23" fmla="*/ 2363625 h 6809"/>
                <a:gd name="T24" fmla="*/ 981062 w 6817"/>
                <a:gd name="T25" fmla="*/ 1534592 h 6809"/>
                <a:gd name="T26" fmla="*/ 917338 w 6817"/>
                <a:gd name="T27" fmla="*/ 1470876 h 6809"/>
                <a:gd name="T28" fmla="*/ 87126 w 6817"/>
                <a:gd name="T29" fmla="*/ 1304925 h 6809"/>
                <a:gd name="T30" fmla="*/ 87126 w 6817"/>
                <a:gd name="T31" fmla="*/ 1145815 h 6809"/>
                <a:gd name="T32" fmla="*/ 917338 w 6817"/>
                <a:gd name="T33" fmla="*/ 979864 h 680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817" h="6809">
                  <a:moveTo>
                    <a:pt x="2548" y="2722"/>
                  </a:moveTo>
                  <a:cubicBezTo>
                    <a:pt x="2637" y="2704"/>
                    <a:pt x="2707" y="2635"/>
                    <a:pt x="2725" y="2545"/>
                  </a:cubicBezTo>
                  <a:lnTo>
                    <a:pt x="3186" y="242"/>
                  </a:lnTo>
                  <a:cubicBezTo>
                    <a:pt x="3235" y="0"/>
                    <a:pt x="3581" y="0"/>
                    <a:pt x="3629" y="242"/>
                  </a:cubicBezTo>
                  <a:lnTo>
                    <a:pt x="4090" y="2545"/>
                  </a:lnTo>
                  <a:cubicBezTo>
                    <a:pt x="4108" y="2635"/>
                    <a:pt x="4178" y="2704"/>
                    <a:pt x="4268" y="2722"/>
                  </a:cubicBezTo>
                  <a:lnTo>
                    <a:pt x="6574" y="3183"/>
                  </a:lnTo>
                  <a:cubicBezTo>
                    <a:pt x="6816" y="3231"/>
                    <a:pt x="6816" y="3577"/>
                    <a:pt x="6574" y="3625"/>
                  </a:cubicBezTo>
                  <a:lnTo>
                    <a:pt x="4268" y="4086"/>
                  </a:lnTo>
                  <a:cubicBezTo>
                    <a:pt x="4178" y="4104"/>
                    <a:pt x="4108" y="4174"/>
                    <a:pt x="4090" y="4263"/>
                  </a:cubicBezTo>
                  <a:lnTo>
                    <a:pt x="3629" y="6566"/>
                  </a:lnTo>
                  <a:cubicBezTo>
                    <a:pt x="3581" y="6808"/>
                    <a:pt x="3235" y="6808"/>
                    <a:pt x="3186" y="6566"/>
                  </a:cubicBezTo>
                  <a:lnTo>
                    <a:pt x="2725" y="4263"/>
                  </a:lnTo>
                  <a:cubicBezTo>
                    <a:pt x="2707" y="4174"/>
                    <a:pt x="2637" y="4104"/>
                    <a:pt x="2548" y="4086"/>
                  </a:cubicBezTo>
                  <a:lnTo>
                    <a:pt x="242" y="3625"/>
                  </a:lnTo>
                  <a:cubicBezTo>
                    <a:pt x="0" y="3577"/>
                    <a:pt x="0" y="3231"/>
                    <a:pt x="242" y="3183"/>
                  </a:cubicBezTo>
                  <a:lnTo>
                    <a:pt x="2548" y="27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40" tIns="45720" rIns="91440" bIns="45720" anchor="ctr"/>
            <a:lstStyle/>
            <a:p>
              <a:pPr algn="ctr" defTabSz="456766">
                <a:defRPr/>
              </a:pPr>
              <a:endParaRPr lang="en-US" sz="1797" dirty="0">
                <a:solidFill>
                  <a:srgbClr val="FFFFFF"/>
                </a:solidFill>
                <a:latin typeface="Century Gothic" panose="020F0302020204030204"/>
              </a:endParaRPr>
            </a:p>
          </p:txBody>
        </p:sp>
      </p:grpSp>
    </p:spTree>
    <p:extLst>
      <p:ext uri="{BB962C8B-B14F-4D97-AF65-F5344CB8AC3E}">
        <p14:creationId xmlns:p14="http://schemas.microsoft.com/office/powerpoint/2010/main" val="191892608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7F9CA-6CC9-AC27-CF90-C098BF588DC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3F5546D-823C-6BA4-6C8B-7AEE42DCAD7F}"/>
              </a:ext>
            </a:extLst>
          </p:cNvPr>
          <p:cNvSpPr>
            <a:spLocks noGrp="1"/>
          </p:cNvSpPr>
          <p:nvPr>
            <p:ph type="title"/>
          </p:nvPr>
        </p:nvSpPr>
        <p:spPr>
          <a:xfrm>
            <a:off x="548640" y="530352"/>
            <a:ext cx="11082973" cy="594360"/>
          </a:xfrm>
        </p:spPr>
        <p:txBody>
          <a:bodyPr/>
          <a:lstStyle/>
          <a:p>
            <a:r>
              <a:rPr lang="en-US" dirty="0"/>
              <a:t>Hiring personas</a:t>
            </a:r>
          </a:p>
        </p:txBody>
      </p:sp>
      <p:pic>
        <p:nvPicPr>
          <p:cNvPr id="3" name="Picture 4">
            <a:extLst>
              <a:ext uri="{FF2B5EF4-FFF2-40B4-BE49-F238E27FC236}">
                <a16:creationId xmlns:a16="http://schemas.microsoft.com/office/drawing/2014/main" id="{07784E96-6332-5E5A-558B-6C7D0BB6620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852100" y="1773178"/>
            <a:ext cx="1563623" cy="1220440"/>
          </a:xfrm>
          <a:prstGeom prst="rect">
            <a:avLst/>
          </a:prstGeom>
        </p:spPr>
      </p:pic>
      <p:pic>
        <p:nvPicPr>
          <p:cNvPr id="5" name="Picture 3">
            <a:extLst>
              <a:ext uri="{FF2B5EF4-FFF2-40B4-BE49-F238E27FC236}">
                <a16:creationId xmlns:a16="http://schemas.microsoft.com/office/drawing/2014/main" id="{E0ADA0E7-B80C-17A8-11C3-DD1EC753936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029290" y="1773178"/>
            <a:ext cx="1563624" cy="1247032"/>
          </a:xfrm>
          <a:prstGeom prst="rect">
            <a:avLst/>
          </a:prstGeom>
        </p:spPr>
      </p:pic>
      <p:pic>
        <p:nvPicPr>
          <p:cNvPr id="6" name="Picture 6">
            <a:extLst>
              <a:ext uri="{FF2B5EF4-FFF2-40B4-BE49-F238E27FC236}">
                <a16:creationId xmlns:a16="http://schemas.microsoft.com/office/drawing/2014/main" id="{9DC06A81-3D73-7EBB-1E0E-777A9E70E18B}"/>
              </a:ext>
            </a:extLst>
          </p:cNvPr>
          <p:cNvPicPr>
            <a:picLocks noChangeAspect="1"/>
          </p:cNvPicPr>
          <p:nvPr/>
        </p:nvPicPr>
        <p:blipFill rotWithShape="1">
          <a:blip r:embed="rId4"/>
          <a:srcRect/>
          <a:stretch/>
        </p:blipFill>
        <p:spPr>
          <a:xfrm>
            <a:off x="5169903" y="1773180"/>
            <a:ext cx="1600200" cy="1262270"/>
          </a:xfrm>
          <a:prstGeom prst="rect">
            <a:avLst/>
          </a:prstGeom>
        </p:spPr>
      </p:pic>
      <p:pic>
        <p:nvPicPr>
          <p:cNvPr id="7" name="Picture 8">
            <a:extLst>
              <a:ext uri="{FF2B5EF4-FFF2-40B4-BE49-F238E27FC236}">
                <a16:creationId xmlns:a16="http://schemas.microsoft.com/office/drawing/2014/main" id="{4E549C49-D3E9-2A4A-7FCE-3BB95EC8E80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548781" y="1773180"/>
            <a:ext cx="1499616" cy="1177612"/>
          </a:xfrm>
          <a:prstGeom prst="rect">
            <a:avLst/>
          </a:prstGeom>
        </p:spPr>
      </p:pic>
      <p:pic>
        <p:nvPicPr>
          <p:cNvPr id="8" name="Picture 19">
            <a:extLst>
              <a:ext uri="{FF2B5EF4-FFF2-40B4-BE49-F238E27FC236}">
                <a16:creationId xmlns:a16="http://schemas.microsoft.com/office/drawing/2014/main" id="{D6B857CC-5402-0353-3C45-D51E145CE54A}"/>
              </a:ext>
            </a:extLst>
          </p:cNvPr>
          <p:cNvPicPr>
            <a:picLocks noChangeAspect="1"/>
          </p:cNvPicPr>
          <p:nvPr/>
        </p:nvPicPr>
        <p:blipFill rotWithShape="1">
          <a:blip r:embed="rId6"/>
          <a:srcRect/>
          <a:stretch/>
        </p:blipFill>
        <p:spPr>
          <a:xfrm>
            <a:off x="3314958" y="1773180"/>
            <a:ext cx="1588384" cy="1278700"/>
          </a:xfrm>
          <a:prstGeom prst="rect">
            <a:avLst/>
          </a:prstGeom>
        </p:spPr>
      </p:pic>
      <p:graphicFrame>
        <p:nvGraphicFramePr>
          <p:cNvPr id="10" name="Table 9">
            <a:extLst>
              <a:ext uri="{FF2B5EF4-FFF2-40B4-BE49-F238E27FC236}">
                <a16:creationId xmlns:a16="http://schemas.microsoft.com/office/drawing/2014/main" id="{C1697B01-8CD9-F284-34E4-DD1AD372BD41}"/>
              </a:ext>
            </a:extLst>
          </p:cNvPr>
          <p:cNvGraphicFramePr>
            <a:graphicFrameLocks noGrp="1"/>
          </p:cNvGraphicFramePr>
          <p:nvPr>
            <p:extLst>
              <p:ext uri="{D42A27DB-BD31-4B8C-83A1-F6EECF244321}">
                <p14:modId xmlns:p14="http://schemas.microsoft.com/office/powerpoint/2010/main" val="3216539521"/>
              </p:ext>
            </p:extLst>
          </p:nvPr>
        </p:nvGraphicFramePr>
        <p:xfrm>
          <a:off x="1548783" y="2891413"/>
          <a:ext cx="8869683" cy="2929433"/>
        </p:xfrm>
        <a:graphic>
          <a:graphicData uri="http://schemas.openxmlformats.org/drawingml/2006/table">
            <a:tbl>
              <a:tblPr firstRow="1" bandRow="1">
                <a:tableStyleId>{5940675A-B579-460E-94D1-54222C63F5DA}</a:tableStyleId>
              </a:tblPr>
              <a:tblGrid>
                <a:gridCol w="1505215">
                  <a:extLst>
                    <a:ext uri="{9D8B030D-6E8A-4147-A177-3AD203B41FA5}">
                      <a16:colId xmlns:a16="http://schemas.microsoft.com/office/drawing/2014/main" val="201550803"/>
                    </a:ext>
                  </a:extLst>
                </a:gridCol>
                <a:gridCol w="265171">
                  <a:extLst>
                    <a:ext uri="{9D8B030D-6E8A-4147-A177-3AD203B41FA5}">
                      <a16:colId xmlns:a16="http://schemas.microsoft.com/office/drawing/2014/main" val="3493009941"/>
                    </a:ext>
                  </a:extLst>
                </a:gridCol>
                <a:gridCol w="1582462">
                  <a:extLst>
                    <a:ext uri="{9D8B030D-6E8A-4147-A177-3AD203B41FA5}">
                      <a16:colId xmlns:a16="http://schemas.microsoft.com/office/drawing/2014/main" val="1145181892"/>
                    </a:ext>
                  </a:extLst>
                </a:gridCol>
                <a:gridCol w="265171">
                  <a:extLst>
                    <a:ext uri="{9D8B030D-6E8A-4147-A177-3AD203B41FA5}">
                      <a16:colId xmlns:a16="http://schemas.microsoft.com/office/drawing/2014/main" val="4041684091"/>
                    </a:ext>
                  </a:extLst>
                </a:gridCol>
                <a:gridCol w="1615963">
                  <a:extLst>
                    <a:ext uri="{9D8B030D-6E8A-4147-A177-3AD203B41FA5}">
                      <a16:colId xmlns:a16="http://schemas.microsoft.com/office/drawing/2014/main" val="1661130232"/>
                    </a:ext>
                  </a:extLst>
                </a:gridCol>
                <a:gridCol w="246963">
                  <a:extLst>
                    <a:ext uri="{9D8B030D-6E8A-4147-A177-3AD203B41FA5}">
                      <a16:colId xmlns:a16="http://schemas.microsoft.com/office/drawing/2014/main" val="1705861508"/>
                    </a:ext>
                  </a:extLst>
                </a:gridCol>
                <a:gridCol w="1570262">
                  <a:extLst>
                    <a:ext uri="{9D8B030D-6E8A-4147-A177-3AD203B41FA5}">
                      <a16:colId xmlns:a16="http://schemas.microsoft.com/office/drawing/2014/main" val="4048233606"/>
                    </a:ext>
                  </a:extLst>
                </a:gridCol>
                <a:gridCol w="253102">
                  <a:extLst>
                    <a:ext uri="{9D8B030D-6E8A-4147-A177-3AD203B41FA5}">
                      <a16:colId xmlns:a16="http://schemas.microsoft.com/office/drawing/2014/main" val="1407174928"/>
                    </a:ext>
                  </a:extLst>
                </a:gridCol>
                <a:gridCol w="1565374">
                  <a:extLst>
                    <a:ext uri="{9D8B030D-6E8A-4147-A177-3AD203B41FA5}">
                      <a16:colId xmlns:a16="http://schemas.microsoft.com/office/drawing/2014/main" val="822176680"/>
                    </a:ext>
                  </a:extLst>
                </a:gridCol>
              </a:tblGrid>
              <a:tr h="658069">
                <a:tc>
                  <a:txBody>
                    <a:bodyPr/>
                    <a:lstStyle/>
                    <a:p>
                      <a:pPr fontAlgn="ctr">
                        <a:buNone/>
                      </a:pPr>
                      <a:r>
                        <a:rPr lang="en-US" sz="1600" dirty="0">
                          <a:solidFill>
                            <a:schemeClr val="bg1"/>
                          </a:solidFill>
                          <a:effectLst/>
                        </a:rPr>
                        <a:t>Hiring Manag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12C58"/>
                    </a:solidFill>
                  </a:tcPr>
                </a:tc>
                <a:tc>
                  <a:txBody>
                    <a:bodyPr/>
                    <a:lstStyle/>
                    <a:p>
                      <a:pPr fontAlgn="ctr">
                        <a:buNone/>
                      </a:pPr>
                      <a:endParaRPr lang="en-US" dirty="0">
                        <a:effectLst/>
                      </a:endParaRPr>
                    </a:p>
                  </a:txBody>
                  <a:tcPr anchor="ctr">
                    <a:lnL w="12700" cmpd="sng">
                      <a:noFill/>
                    </a:lnL>
                    <a:lnR w="12700" cmpd="sng">
                      <a:noFill/>
                    </a:lnR>
                    <a:lnT w="12700" cmpd="sng">
                      <a:noFill/>
                    </a:lnT>
                    <a:lnB w="0" cmpd="sng">
                      <a:noFill/>
                    </a:lnB>
                    <a:lnTlToBr w="12700" cmpd="sng">
                      <a:noFill/>
                      <a:prstDash val="solid"/>
                    </a:lnTlToBr>
                    <a:lnBlToTr w="12700" cmpd="sng">
                      <a:noFill/>
                      <a:prstDash val="solid"/>
                    </a:lnBlToTr>
                  </a:tcPr>
                </a:tc>
                <a:tc>
                  <a:txBody>
                    <a:bodyPr/>
                    <a:lstStyle/>
                    <a:p>
                      <a:pPr algn="l"/>
                      <a:r>
                        <a:rPr lang="en-US" sz="1600" b="1" dirty="0">
                          <a:solidFill>
                            <a:schemeClr val="bg1"/>
                          </a:solidFill>
                        </a:rPr>
                        <a:t>Recruiter</a:t>
                      </a:r>
                      <a:endParaRPr lang="en-US" sz="1600" b="1" baseline="30000" dirty="0">
                        <a:solidFill>
                          <a:schemeClr val="bg1"/>
                        </a:solidFill>
                      </a:endParaRPr>
                    </a:p>
                  </a:txBody>
                  <a:tcPr marL="91416" marR="91416" marT="45708" marB="4570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12C58"/>
                    </a:solidFill>
                  </a:tcPr>
                </a:tc>
                <a:tc>
                  <a:txBody>
                    <a:bodyPr/>
                    <a:lstStyle/>
                    <a:p>
                      <a:pPr algn="l"/>
                      <a:endParaRPr lang="en-US" sz="1200" b="1" dirty="0">
                        <a:solidFill>
                          <a:schemeClr val="bg1"/>
                        </a:solidFill>
                      </a:endParaRPr>
                    </a:p>
                  </a:txBody>
                  <a:tcPr marL="91416" marR="91416" marT="45708" marB="45708" anchor="ctr">
                    <a:lnL w="12700" cmpd="sng">
                      <a:noFill/>
                    </a:lnL>
                    <a:lnR w="12700" cmpd="sng">
                      <a:noFill/>
                    </a:lnR>
                    <a:lnT w="12700" cmpd="sng">
                      <a:noFill/>
                    </a:lnT>
                    <a:lnB w="0" cmpd="sng">
                      <a:noFill/>
                    </a:lnB>
                    <a:lnTlToBr w="12700" cmpd="sng">
                      <a:noFill/>
                      <a:prstDash val="solid"/>
                    </a:lnTlToBr>
                    <a:lnBlToTr w="12700" cmpd="sng">
                      <a:noFill/>
                      <a:prstDash val="solid"/>
                    </a:lnBlToTr>
                  </a:tcPr>
                </a:tc>
                <a:tc>
                  <a:txBody>
                    <a:bodyPr/>
                    <a:lstStyle/>
                    <a:p>
                      <a:pPr algn="l"/>
                      <a:r>
                        <a:rPr lang="en-US" sz="1600" b="1" dirty="0">
                          <a:solidFill>
                            <a:schemeClr val="bg1"/>
                          </a:solidFill>
                        </a:rPr>
                        <a:t>Applicant</a:t>
                      </a:r>
                      <a:endParaRPr lang="en-US" sz="1600" b="1" baseline="30000" dirty="0">
                        <a:solidFill>
                          <a:schemeClr val="bg1"/>
                        </a:solidFill>
                      </a:endParaRPr>
                    </a:p>
                  </a:txBody>
                  <a:tcPr marL="91416" marR="91416" marT="45708" marB="4570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12C58"/>
                    </a:solidFill>
                  </a:tcPr>
                </a:tc>
                <a:tc>
                  <a:txBody>
                    <a:bodyPr/>
                    <a:lstStyle/>
                    <a:p>
                      <a:pPr algn="l"/>
                      <a:endParaRPr lang="en-US" sz="1200" b="1" dirty="0">
                        <a:solidFill>
                          <a:schemeClr val="bg1"/>
                        </a:solidFill>
                      </a:endParaRPr>
                    </a:p>
                  </a:txBody>
                  <a:tcPr marL="91416" marR="91416" marT="45708" marB="45708" anchor="ctr">
                    <a:lnL w="12700" cmpd="sng">
                      <a:noFill/>
                    </a:lnL>
                    <a:lnR w="12700" cmpd="sng">
                      <a:noFill/>
                    </a:lnR>
                    <a:lnT w="12700" cmpd="sng">
                      <a:noFill/>
                    </a:lnT>
                    <a:lnB w="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n-lt"/>
                          <a:ea typeface="+mn-ea"/>
                          <a:cs typeface="+mn-cs"/>
                        </a:rPr>
                        <a:t>Interviewer / Panelist</a:t>
                      </a:r>
                      <a:endParaRPr kumimoji="0" lang="en-US" sz="1200" b="1" i="0" u="none" strike="noStrike" kern="1200" cap="none" spc="0" normalizeH="0" baseline="30000" noProof="0" dirty="0">
                        <a:ln>
                          <a:noFill/>
                        </a:ln>
                        <a:solidFill>
                          <a:srgbClr val="FFFFFF"/>
                        </a:solidFill>
                        <a:effectLst/>
                        <a:uLnTx/>
                        <a:uFillTx/>
                        <a:latin typeface="+mn-lt"/>
                        <a:ea typeface="+mn-ea"/>
                        <a:cs typeface="+mn-cs"/>
                      </a:endParaRPr>
                    </a:p>
                  </a:txBody>
                  <a:tcPr marL="91416" marR="91416" marT="45708" marB="4570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12C58"/>
                    </a:solidFill>
                  </a:tcPr>
                </a:tc>
                <a:tc>
                  <a:txBody>
                    <a:bodyPr/>
                    <a:lstStyle/>
                    <a:p>
                      <a:pPr algn="l"/>
                      <a:endParaRPr lang="en-US" sz="1200" b="1" dirty="0">
                        <a:solidFill>
                          <a:schemeClr val="bg1"/>
                        </a:solidFill>
                      </a:endParaRPr>
                    </a:p>
                  </a:txBody>
                  <a:tcPr marL="91416" marR="91416" marT="45708" marB="45708" anchor="ctr">
                    <a:lnL w="12700" cmpd="sng">
                      <a:noFill/>
                    </a:lnL>
                    <a:lnR w="12700" cmpd="sng">
                      <a:noFill/>
                    </a:lnR>
                    <a:lnT w="12700" cmpd="sng">
                      <a:noFill/>
                    </a:lnT>
                    <a:lnB w="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n-lt"/>
                          <a:ea typeface="+mn-ea"/>
                          <a:cs typeface="+mn-cs"/>
                        </a:rPr>
                        <a:t>Recruitment Coordinator</a:t>
                      </a:r>
                      <a:endParaRPr kumimoji="0" lang="en-US" sz="1200" b="1" i="0" u="none" strike="noStrike" kern="1200" cap="none" spc="0" normalizeH="0" baseline="30000" noProof="0" dirty="0">
                        <a:ln>
                          <a:noFill/>
                        </a:ln>
                        <a:solidFill>
                          <a:srgbClr val="FFFFFF"/>
                        </a:solidFill>
                        <a:effectLst/>
                        <a:uLnTx/>
                        <a:uFillTx/>
                        <a:latin typeface="+mn-lt"/>
                        <a:ea typeface="+mn-ea"/>
                        <a:cs typeface="+mn-cs"/>
                      </a:endParaRPr>
                    </a:p>
                  </a:txBody>
                  <a:tcPr marL="91416" marR="91416" marT="45708" marB="4570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12C58"/>
                    </a:solidFill>
                  </a:tcPr>
                </a:tc>
                <a:extLst>
                  <a:ext uri="{0D108BD9-81ED-4DB2-BD59-A6C34878D82A}">
                    <a16:rowId xmlns:a16="http://schemas.microsoft.com/office/drawing/2014/main" val="2621508957"/>
                  </a:ext>
                </a:extLst>
              </a:tr>
              <a:tr h="567841">
                <a:tc rowSpan="4">
                  <a:txBody>
                    <a:bodyPr/>
                    <a:lstStyle/>
                    <a:p>
                      <a:pPr lvl="0"/>
                      <a:r>
                        <a:rPr lang="en-US" sz="1200" dirty="0">
                          <a:latin typeface="+mn-lt"/>
                        </a:rPr>
                        <a:t>Hiring managers request job openings, track jobs, collaborate with recruiters, view and compare applications, and provide feedback.</a:t>
                      </a:r>
                    </a:p>
                  </a:txBody>
                  <a:tcPr marL="91416" marR="91416" marT="45708" marB="45708">
                    <a:lnL w="12700" cmpd="sng">
                      <a:noFill/>
                    </a:lnL>
                    <a:lnR w="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rowSpan="4">
                  <a:txBody>
                    <a:bodyPr/>
                    <a:lstStyle/>
                    <a:p>
                      <a:pPr lvl="0"/>
                      <a:r>
                        <a:rPr lang="en-US" sz="1200" dirty="0">
                          <a:latin typeface="+mn-lt"/>
                        </a:rPr>
                        <a:t>Recruiters can manage job requisition, view applications, collaborate with hiring managers and applicants, schedule and manage interviews.</a:t>
                      </a:r>
                    </a:p>
                  </a:txBody>
                  <a:tcPr marL="91416" marR="91416" marT="45708" marB="45708">
                    <a:lnL w="0" cmpd="sng">
                      <a:noFill/>
                    </a:lnL>
                    <a:lnR w="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rowSpan="4">
                  <a:txBody>
                    <a:bodyPr/>
                    <a:lstStyle/>
                    <a:p>
                      <a:pPr lvl="0"/>
                      <a:r>
                        <a:rPr lang="en-US" sz="1200" dirty="0">
                          <a:latin typeface="+mn-lt"/>
                        </a:rPr>
                        <a:t>Applicants can learn more about the company, track their job applications, view job details, and communicate with the hiring team.</a:t>
                      </a:r>
                    </a:p>
                  </a:txBody>
                  <a:tcPr marL="91416" marR="91416" marT="45708" marB="45708">
                    <a:lnL w="0" cmpd="sng">
                      <a:noFill/>
                    </a:lnL>
                    <a:lnR w="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Interviewers can view the job requisitions assigned to them, view applications, and interview applicants.</a:t>
                      </a:r>
                    </a:p>
                  </a:txBody>
                  <a:tcPr marL="91416" marR="91416" marT="45708" marB="45708">
                    <a:lnL w="0" cmpd="sng">
                      <a:noFill/>
                    </a:lnL>
                    <a:lnR w="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Coordinators schedule interviews, route unassigned tasks, ensures tasks are moving forward, and coordinates manual tasks when recruiters are overburdened.</a:t>
                      </a:r>
                    </a:p>
                    <a:p>
                      <a:pPr lvl="0"/>
                      <a:endParaRPr lang="en-US" sz="1200" dirty="0"/>
                    </a:p>
                  </a:txBody>
                  <a:tcPr marL="91416" marR="91416" marT="45708" marB="45708">
                    <a:lnL w="0" cmpd="sng">
                      <a:noFill/>
                    </a:lnL>
                    <a:lnR w="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7343971"/>
                  </a:ext>
                </a:extLst>
              </a:tr>
              <a:tr h="567841">
                <a:tc vMerge="1">
                  <a:txBody>
                    <a:bodyPr/>
                    <a:lstStyle/>
                    <a:p>
                      <a:r>
                        <a:rPr lang="en-US" sz="1100">
                          <a:solidFill>
                            <a:schemeClr val="tx1"/>
                          </a:solidFill>
                        </a:rPr>
                        <a:t>Operational efficiencies (e.g., green buildings)</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Balanced ESG investment portfolio </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Rationalization of services, applications and infrastructure</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ESG communication with all stakeholder groups</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ESG to attract, engage and retain talent</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85595843"/>
                  </a:ext>
                </a:extLst>
              </a:tr>
              <a:tr h="567841">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Better" product and service introduction</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ESG in audit, governance, risk </a:t>
                      </a:r>
                      <a:br>
                        <a:rPr lang="en-US" sz="1100" kern="1200">
                          <a:solidFill>
                            <a:schemeClr val="tx1"/>
                          </a:solidFill>
                          <a:latin typeface="+mn-lt"/>
                          <a:ea typeface="+mn-ea"/>
                          <a:cs typeface="+mn-cs"/>
                        </a:rPr>
                      </a:br>
                      <a:r>
                        <a:rPr lang="en-US" sz="1100" kern="1200">
                          <a:solidFill>
                            <a:schemeClr val="tx1"/>
                          </a:solidFill>
                          <a:latin typeface="+mn-lt"/>
                          <a:ea typeface="+mn-ea"/>
                          <a:cs typeface="+mn-cs"/>
                        </a:rPr>
                        <a:t>and compliance</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Digital enablement of ESG programs</a:t>
                      </a:r>
                    </a:p>
                  </a:txBody>
                  <a:tcPr marL="91416" marR="91416" marT="45708" marB="45708">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ESG branding for the whole company</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Diversity, inclusion </a:t>
                      </a:r>
                      <a:br>
                        <a:rPr lang="en-US" sz="1100">
                          <a:solidFill>
                            <a:schemeClr val="tx1"/>
                          </a:solidFill>
                        </a:rPr>
                      </a:br>
                      <a:r>
                        <a:rPr lang="en-US" sz="1100">
                          <a:solidFill>
                            <a:schemeClr val="tx1"/>
                          </a:solidFill>
                        </a:rPr>
                        <a:t>and belonging</a:t>
                      </a:r>
                    </a:p>
                  </a:txBody>
                  <a:tcPr marL="91416" marR="91416" marT="45708" marB="45708">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90498602"/>
                  </a:ext>
                </a:extLst>
              </a:tr>
              <a:tr h="567841">
                <a:tc vMerge="1">
                  <a:txBody>
                    <a:bodyPr/>
                    <a:lstStyle/>
                    <a:p>
                      <a:r>
                        <a:rPr lang="en-US" sz="1100">
                          <a:solidFill>
                            <a:schemeClr val="tx1"/>
                          </a:solidFill>
                        </a:rPr>
                        <a:t>Business model innovation and scale</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12700" cmpd="sng">
                      <a:noFill/>
                    </a:lnB>
                    <a:lnTlToBr w="12700" cmpd="sng">
                      <a:noFill/>
                      <a:prstDash val="solid"/>
                    </a:lnTlToBr>
                    <a:lnBlToTr w="12700" cmpd="sng">
                      <a:noFill/>
                      <a:prstDash val="solid"/>
                    </a:lnBlToTr>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Business resilience vs. ESG risks (operations, supply chain)</a:t>
                      </a:r>
                    </a:p>
                  </a:txBody>
                  <a:tcPr marL="91416" marR="91416" marT="45708" marB="45708">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0" cmpd="sng">
                      <a:noFill/>
                    </a:lnL>
                    <a:lnR w="0" cmpd="sng">
                      <a:noFill/>
                    </a:lnR>
                    <a:lnT w="0" cmpd="sng">
                      <a:noFill/>
                    </a:lnT>
                    <a:lnB w="0" cmpd="sng">
                      <a:noFill/>
                    </a:lnB>
                    <a:lnTlToBr w="12700" cmpd="sng">
                      <a:noFill/>
                      <a:prstDash val="solid"/>
                    </a:lnTlToBr>
                    <a:lnBlToTr w="12700" cmpd="sng">
                      <a:noFill/>
                      <a:prstDash val="solid"/>
                    </a:lnBlToTr>
                  </a:tcPr>
                </a:tc>
                <a:tc vMerge="1">
                  <a:txBody>
                    <a:bodyPr/>
                    <a:lstStyle/>
                    <a:p>
                      <a:r>
                        <a:rPr lang="en-US" sz="1100">
                          <a:solidFill>
                            <a:schemeClr val="tx1"/>
                          </a:solidFill>
                        </a:rPr>
                        <a:t>Ethical AI</a:t>
                      </a:r>
                    </a:p>
                  </a:txBody>
                  <a:tcPr marL="91416" marR="91416" marT="45708" marB="4570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12700" cmpd="sng">
                      <a:noFill/>
                    </a:lnB>
                    <a:lnTlToBr w="12700" cmpd="sng">
                      <a:noFill/>
                      <a:prstDash val="solid"/>
                    </a:lnTlToBr>
                    <a:lnBlToTr w="12700" cmpd="sng">
                      <a:noFill/>
                      <a:prstDash val="solid"/>
                    </a:lnBlToTr>
                  </a:tcPr>
                </a:tc>
                <a:tc vMerge="1">
                  <a:txBody>
                    <a:bodyPr/>
                    <a:lstStyle/>
                    <a:p>
                      <a:pPr marL="0" marR="0" lvl="0" indent="0" algn="l" defTabSz="457017" rtl="0" eaLnBrk="1" fontAlgn="auto" latinLnBrk="0" hangingPunct="1">
                        <a:lnSpc>
                          <a:spcPct val="100000"/>
                        </a:lnSpc>
                        <a:spcBef>
                          <a:spcPts val="0"/>
                        </a:spcBef>
                        <a:spcAft>
                          <a:spcPts val="0"/>
                        </a:spcAft>
                        <a:buClrTx/>
                        <a:buSzTx/>
                        <a:buFontTx/>
                        <a:buNone/>
                        <a:tabLst/>
                        <a:defRPr/>
                      </a:pPr>
                      <a:r>
                        <a:rPr lang="en-US" sz="1100">
                          <a:solidFill>
                            <a:schemeClr val="tx1"/>
                          </a:solidFill>
                        </a:rPr>
                        <a:t>ESG in customer purchases decisions and experience</a:t>
                      </a:r>
                    </a:p>
                  </a:txBody>
                  <a:tcPr marL="91416" marR="91416" marT="45708" marB="45708">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tx1"/>
                        </a:solidFill>
                      </a:endParaRPr>
                    </a:p>
                  </a:txBody>
                  <a:tcPr marL="91416" marR="91416" marT="45708" marB="45708">
                    <a:lnL w="12700" cmpd="sng">
                      <a:noFill/>
                    </a:lnL>
                    <a:lnR w="12700" cmpd="sng">
                      <a:noFill/>
                    </a:lnR>
                    <a:lnT w="0" cmpd="sng">
                      <a:noFill/>
                    </a:lnT>
                    <a:lnB w="12700" cmpd="sng">
                      <a:noFill/>
                    </a:lnB>
                    <a:lnTlToBr w="12700" cmpd="sng">
                      <a:noFill/>
                      <a:prstDash val="solid"/>
                    </a:lnTlToBr>
                    <a:lnBlToTr w="12700" cmpd="sng">
                      <a:noFill/>
                      <a:prstDash val="solid"/>
                    </a:lnBlToTr>
                  </a:tcPr>
                </a:tc>
                <a:tc vMerge="1">
                  <a:txBody>
                    <a:bodyPr/>
                    <a:lstStyle/>
                    <a:p>
                      <a:r>
                        <a:rPr lang="en-US" sz="1100">
                          <a:solidFill>
                            <a:schemeClr val="tx1"/>
                          </a:solidFill>
                        </a:rPr>
                        <a:t>Workforce health, wellbeing and safety</a:t>
                      </a:r>
                    </a:p>
                  </a:txBody>
                  <a:tcPr marL="91416" marR="91416" marT="45708" marB="4570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06002514"/>
                  </a:ext>
                </a:extLst>
              </a:tr>
            </a:tbl>
          </a:graphicData>
        </a:graphic>
      </p:graphicFrame>
    </p:spTree>
    <p:extLst>
      <p:ext uri="{BB962C8B-B14F-4D97-AF65-F5344CB8AC3E}">
        <p14:creationId xmlns:p14="http://schemas.microsoft.com/office/powerpoint/2010/main" val="28113061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AA1C9-18E7-34D7-D4D8-23EF34B52FE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936EE9-06C3-D053-0427-4914F28B0CF3}"/>
              </a:ext>
            </a:extLst>
          </p:cNvPr>
          <p:cNvSpPr>
            <a:spLocks noGrp="1"/>
          </p:cNvSpPr>
          <p:nvPr>
            <p:ph type="title"/>
          </p:nvPr>
        </p:nvSpPr>
        <p:spPr>
          <a:xfrm>
            <a:off x="548640" y="530352"/>
            <a:ext cx="11082973" cy="594360"/>
          </a:xfrm>
        </p:spPr>
        <p:txBody>
          <a:bodyPr/>
          <a:lstStyle/>
          <a:p>
            <a:r>
              <a:rPr lang="en-US" dirty="0"/>
              <a:t>Hiring roles</a:t>
            </a:r>
          </a:p>
        </p:txBody>
      </p:sp>
      <p:graphicFrame>
        <p:nvGraphicFramePr>
          <p:cNvPr id="5" name="Table 4">
            <a:extLst>
              <a:ext uri="{FF2B5EF4-FFF2-40B4-BE49-F238E27FC236}">
                <a16:creationId xmlns:a16="http://schemas.microsoft.com/office/drawing/2014/main" id="{32D57CAC-1592-9240-2692-E0709300868F}"/>
              </a:ext>
            </a:extLst>
          </p:cNvPr>
          <p:cNvGraphicFramePr>
            <a:graphicFrameLocks noGrp="1"/>
          </p:cNvGraphicFramePr>
          <p:nvPr>
            <p:extLst>
              <p:ext uri="{D42A27DB-BD31-4B8C-83A1-F6EECF244321}">
                <p14:modId xmlns:p14="http://schemas.microsoft.com/office/powerpoint/2010/main" val="2264500944"/>
              </p:ext>
            </p:extLst>
          </p:nvPr>
        </p:nvGraphicFramePr>
        <p:xfrm>
          <a:off x="685085" y="1750191"/>
          <a:ext cx="10955100" cy="4450080"/>
        </p:xfrm>
        <a:graphic>
          <a:graphicData uri="http://schemas.openxmlformats.org/drawingml/2006/table">
            <a:tbl>
              <a:tblPr firstRow="1" bandRow="1">
                <a:tableStyleId>{9D7B26C5-4107-4FEC-AEDC-1716B250A1EF}</a:tableStyleId>
              </a:tblPr>
              <a:tblGrid>
                <a:gridCol w="2372747">
                  <a:extLst>
                    <a:ext uri="{9D8B030D-6E8A-4147-A177-3AD203B41FA5}">
                      <a16:colId xmlns:a16="http://schemas.microsoft.com/office/drawing/2014/main" val="1822053550"/>
                    </a:ext>
                  </a:extLst>
                </a:gridCol>
                <a:gridCol w="3392129">
                  <a:extLst>
                    <a:ext uri="{9D8B030D-6E8A-4147-A177-3AD203B41FA5}">
                      <a16:colId xmlns:a16="http://schemas.microsoft.com/office/drawing/2014/main" val="3683672080"/>
                    </a:ext>
                  </a:extLst>
                </a:gridCol>
                <a:gridCol w="5190224">
                  <a:extLst>
                    <a:ext uri="{9D8B030D-6E8A-4147-A177-3AD203B41FA5}">
                      <a16:colId xmlns:a16="http://schemas.microsoft.com/office/drawing/2014/main" val="4206263844"/>
                    </a:ext>
                  </a:extLst>
                </a:gridCol>
              </a:tblGrid>
              <a:tr h="370840">
                <a:tc>
                  <a:txBody>
                    <a:bodyPr/>
                    <a:lstStyle/>
                    <a:p>
                      <a:pPr algn="l" fontAlgn="t">
                        <a:buNone/>
                      </a:pPr>
                      <a:r>
                        <a:rPr lang="en-US" sz="1400" b="1" u="none" strike="noStrike" dirty="0">
                          <a:solidFill>
                            <a:srgbClr val="63DF4E"/>
                          </a:solidFill>
                          <a:effectLst/>
                          <a:latin typeface="+mj-lt"/>
                        </a:rPr>
                        <a:t>Role name</a:t>
                      </a:r>
                      <a:endParaRPr lang="en-US" sz="1400" b="1" i="0" u="none" strike="noStrike" dirty="0">
                        <a:solidFill>
                          <a:srgbClr val="63DF4E"/>
                        </a:solidFill>
                        <a:effectLst/>
                        <a:latin typeface="+mj-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t">
                        <a:buNone/>
                      </a:pPr>
                      <a:r>
                        <a:rPr lang="en-US" sz="1400" b="1" u="none" strike="noStrike" dirty="0">
                          <a:solidFill>
                            <a:srgbClr val="63DF4E"/>
                          </a:solidFill>
                          <a:effectLst/>
                          <a:latin typeface="+mj-lt"/>
                        </a:rPr>
                        <a:t>Role</a:t>
                      </a:r>
                      <a:endParaRPr lang="en-US" sz="1400" b="1" i="0" u="none" strike="noStrike" dirty="0">
                        <a:solidFill>
                          <a:srgbClr val="63DF4E"/>
                        </a:solidFill>
                        <a:effectLst/>
                        <a:latin typeface="+mj-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t">
                        <a:buNone/>
                      </a:pPr>
                      <a:r>
                        <a:rPr lang="en-US" sz="1400" b="1" u="none" strike="noStrike" dirty="0">
                          <a:solidFill>
                            <a:srgbClr val="63DF4E"/>
                          </a:solidFill>
                          <a:effectLst/>
                          <a:latin typeface="+mj-lt"/>
                        </a:rPr>
                        <a:t>Description</a:t>
                      </a:r>
                      <a:endParaRPr lang="en-US" sz="1400" b="1" i="0" u="none" strike="noStrike" dirty="0">
                        <a:solidFill>
                          <a:srgbClr val="63DF4E"/>
                        </a:solidFill>
                        <a:effectLst/>
                        <a:latin typeface="+mj-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00890757"/>
                  </a:ext>
                </a:extLst>
              </a:tr>
              <a:tr h="370840">
                <a:tc>
                  <a:txBody>
                    <a:bodyPr/>
                    <a:lstStyle/>
                    <a:p>
                      <a:pPr algn="l" fontAlgn="b">
                        <a:buNone/>
                      </a:pPr>
                      <a:r>
                        <a:rPr lang="en-US" sz="1100" b="0" u="none" strike="noStrike" dirty="0">
                          <a:solidFill>
                            <a:schemeClr val="bg1"/>
                          </a:solidFill>
                          <a:effectLst/>
                        </a:rPr>
                        <a:t>Hiring Core Admin</a:t>
                      </a:r>
                      <a:endParaRPr lang="en-US" sz="1100" b="0" i="0" u="none" strike="noStrike" dirty="0">
                        <a:solidFill>
                          <a:schemeClr val="bg1"/>
                        </a:solidFill>
                        <a:effectLst/>
                        <a:latin typeface="+mn-lt"/>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admin</a:t>
                      </a:r>
                      <a:endParaRPr lang="en-US" sz="1100" b="0" i="0" u="none" strike="noStrike" dirty="0">
                        <a:solidFill>
                          <a:schemeClr val="bg1"/>
                        </a:solidFill>
                        <a:effectLst/>
                        <a:latin typeface="+mn-lt"/>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uper admin for the Hiring Experiences environment with full access.</a:t>
                      </a:r>
                      <a:endParaRPr lang="en-US" sz="1100" b="0" i="0" u="none" strike="noStrike" dirty="0">
                        <a:solidFill>
                          <a:schemeClr val="bg1"/>
                        </a:solidFill>
                        <a:effectLst/>
                        <a:latin typeface="+mn-lt"/>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85736231"/>
                  </a:ext>
                </a:extLst>
              </a:tr>
              <a:tr h="370840">
                <a:tc>
                  <a:txBody>
                    <a:bodyPr/>
                    <a:lstStyle/>
                    <a:p>
                      <a:pPr algn="l" fontAlgn="b">
                        <a:buNone/>
                      </a:pPr>
                      <a:r>
                        <a:rPr lang="en-US" sz="1100" b="0" u="none" strike="noStrike" dirty="0">
                          <a:solidFill>
                            <a:schemeClr val="bg1"/>
                          </a:solidFill>
                          <a:effectLst/>
                        </a:rPr>
                        <a:t>Recruit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recruit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Creates and manages job requisitions, collaborates with hiring managers.</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95513391"/>
                  </a:ext>
                </a:extLst>
              </a:tr>
              <a:tr h="370840">
                <a:tc>
                  <a:txBody>
                    <a:bodyPr/>
                    <a:lstStyle/>
                    <a:p>
                      <a:pPr algn="l" fontAlgn="b">
                        <a:buNone/>
                      </a:pPr>
                      <a:r>
                        <a:rPr lang="en-US" sz="1100" b="0" u="none" strike="noStrike" dirty="0">
                          <a:solidFill>
                            <a:schemeClr val="bg1"/>
                          </a:solidFill>
                          <a:effectLst/>
                        </a:rPr>
                        <a:t>Interview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interview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Evaluates applicants assigned to job requisitions.</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11984101"/>
                  </a:ext>
                </a:extLst>
              </a:tr>
              <a:tr h="370840">
                <a:tc>
                  <a:txBody>
                    <a:bodyPr/>
                    <a:lstStyle/>
                    <a:p>
                      <a:pPr algn="l" fontAlgn="b">
                        <a:buNone/>
                      </a:pPr>
                      <a:r>
                        <a:rPr lang="en-US" sz="1100" b="0" u="none" strike="noStrike" dirty="0">
                          <a:solidFill>
                            <a:schemeClr val="bg1"/>
                          </a:solidFill>
                          <a:effectLst/>
                        </a:rPr>
                        <a:t>Recruitment Coordinato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recruitment_coordinato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Creates interviews and manages application workflow.</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49910221"/>
                  </a:ext>
                </a:extLst>
              </a:tr>
              <a:tr h="370840">
                <a:tc>
                  <a:txBody>
                    <a:bodyPr/>
                    <a:lstStyle/>
                    <a:p>
                      <a:pPr algn="l" fontAlgn="b">
                        <a:buNone/>
                      </a:pPr>
                      <a:r>
                        <a:rPr lang="en-US" sz="1100" b="0" u="none" strike="noStrike" dirty="0">
                          <a:solidFill>
                            <a:schemeClr val="bg1"/>
                          </a:solidFill>
                          <a:effectLst/>
                        </a:rPr>
                        <a:t>Hiring Manag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hiring_manag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Oversees job requisitions and collaborates with recruiters.</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72166594"/>
                  </a:ext>
                </a:extLst>
              </a:tr>
              <a:tr h="370840">
                <a:tc>
                  <a:txBody>
                    <a:bodyPr/>
                    <a:lstStyle/>
                    <a:p>
                      <a:pPr algn="l" fontAlgn="b">
                        <a:buNone/>
                      </a:pPr>
                      <a:r>
                        <a:rPr lang="en-US" sz="1100" b="0" u="none" strike="noStrike" dirty="0">
                          <a:solidFill>
                            <a:schemeClr val="bg1"/>
                          </a:solidFill>
                          <a:effectLst/>
                        </a:rPr>
                        <a:t>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Parent role for internal and external applicants; provides common info.</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34638906"/>
                  </a:ext>
                </a:extLst>
              </a:tr>
              <a:tr h="370840">
                <a:tc>
                  <a:txBody>
                    <a:bodyPr/>
                    <a:lstStyle/>
                    <a:p>
                      <a:pPr algn="l" fontAlgn="b">
                        <a:buNone/>
                      </a:pPr>
                      <a:r>
                        <a:rPr lang="en-US" sz="1100" b="0" u="none" strike="noStrike" dirty="0">
                          <a:solidFill>
                            <a:schemeClr val="bg1"/>
                          </a:solidFill>
                          <a:effectLst/>
                        </a:rPr>
                        <a:t>External 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external_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For external applicants; includes snc_external role.</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86959368"/>
                  </a:ext>
                </a:extLst>
              </a:tr>
              <a:tr h="370840">
                <a:tc>
                  <a:txBody>
                    <a:bodyPr/>
                    <a:lstStyle/>
                    <a:p>
                      <a:pPr algn="l" fontAlgn="b">
                        <a:buNone/>
                      </a:pPr>
                      <a:r>
                        <a:rPr lang="en-US" sz="1100" b="0" u="none" strike="noStrike" dirty="0">
                          <a:solidFill>
                            <a:schemeClr val="bg1"/>
                          </a:solidFill>
                          <a:effectLst/>
                        </a:rPr>
                        <a:t>Internal 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hiring_core.internal_applicant</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For internal applicants; includes snc_internal role.</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25511483"/>
                  </a:ext>
                </a:extLst>
              </a:tr>
              <a:tr h="370840">
                <a:tc>
                  <a:txBody>
                    <a:bodyPr/>
                    <a:lstStyle/>
                    <a:p>
                      <a:pPr algn="l" fontAlgn="b">
                        <a:buNone/>
                      </a:pPr>
                      <a:r>
                        <a:rPr lang="en-US" sz="1100" b="0" u="none" strike="noStrike" dirty="0">
                          <a:solidFill>
                            <a:schemeClr val="bg1"/>
                          </a:solidFill>
                          <a:effectLst/>
                        </a:rPr>
                        <a:t>Approver Us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pprover_user</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Required for users who approve requests.</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35770048"/>
                  </a:ext>
                </a:extLst>
              </a:tr>
              <a:tr h="370840">
                <a:tc>
                  <a:txBody>
                    <a:bodyPr/>
                    <a:lstStyle/>
                    <a:p>
                      <a:pPr algn="l" fontAlgn="b">
                        <a:buNone/>
                      </a:pPr>
                      <a:r>
                        <a:rPr lang="en-US" sz="1100" b="0" u="none" strike="noStrike" dirty="0">
                          <a:solidFill>
                            <a:schemeClr val="bg1"/>
                          </a:solidFill>
                          <a:effectLst/>
                        </a:rPr>
                        <a:t>Talent Profile Admin</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tp.talent_profile_admin</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ets up Talent Profile functionality.</a:t>
                      </a:r>
                      <a:endParaRPr lang="en-US" sz="1100" b="0"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4760734"/>
                  </a:ext>
                </a:extLst>
              </a:tr>
              <a:tr h="370840">
                <a:tc>
                  <a:txBody>
                    <a:bodyPr/>
                    <a:lstStyle/>
                    <a:p>
                      <a:pPr algn="l" fontAlgn="b">
                        <a:buNone/>
                      </a:pPr>
                      <a:r>
                        <a:rPr lang="en-US" sz="1100" b="0" u="none" strike="noStrike" dirty="0">
                          <a:solidFill>
                            <a:schemeClr val="bg1"/>
                          </a:solidFill>
                          <a:effectLst/>
                        </a:rPr>
                        <a:t>Talent Profile User</a:t>
                      </a:r>
                      <a:endParaRPr lang="en-US" sz="1100" b="0" i="0" u="none" strike="noStrike" dirty="0">
                        <a:solidFill>
                          <a:schemeClr val="bg1"/>
                        </a:solidFill>
                        <a:effectLst/>
                        <a:latin typeface="+mn-lt"/>
                      </a:endParaRPr>
                    </a:p>
                  </a:txBody>
                  <a:tcPr marL="9525" marR="9525" marT="9525" marB="0" anchor="ctr">
                    <a:lnL>
                      <a:noFill/>
                    </a:lnL>
                    <a:lnR>
                      <a:noFill/>
                    </a:lnR>
                    <a:lnT>
                      <a:noFill/>
                    </a:lnT>
                    <a:lnB w="12700" cmpd="sng">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n_ta_tp.talent_profile_user</a:t>
                      </a:r>
                      <a:endParaRPr lang="en-US" sz="1100" b="0" i="0" u="none" strike="noStrike" dirty="0">
                        <a:solidFill>
                          <a:schemeClr val="bg1"/>
                        </a:solidFill>
                        <a:effectLst/>
                        <a:latin typeface="+mn-lt"/>
                      </a:endParaRPr>
                    </a:p>
                  </a:txBody>
                  <a:tcPr marL="9525" marR="9525" marT="9525" marB="0" anchor="ctr">
                    <a:lnL>
                      <a:noFill/>
                    </a:lnL>
                    <a:lnR>
                      <a:noFill/>
                    </a:lnR>
                    <a:lnT>
                      <a:noFill/>
                    </a:lnT>
                    <a:lnB w="12700" cmpd="sng">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Uses Talent Profile features.</a:t>
                      </a:r>
                      <a:endParaRPr lang="en-US" sz="1100" b="0" i="0" u="none" strike="noStrike" dirty="0">
                        <a:solidFill>
                          <a:schemeClr val="bg1"/>
                        </a:solidFill>
                        <a:effectLst/>
                        <a:latin typeface="+mn-lt"/>
                      </a:endParaRPr>
                    </a:p>
                  </a:txBody>
                  <a:tcPr marL="9525" marR="9525" marT="9525" marB="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0371042"/>
                  </a:ext>
                </a:extLst>
              </a:tr>
            </a:tbl>
          </a:graphicData>
        </a:graphic>
      </p:graphicFrame>
      <p:sp>
        <p:nvSpPr>
          <p:cNvPr id="7" name="Rounded Rectangle 4">
            <a:extLst>
              <a:ext uri="{FF2B5EF4-FFF2-40B4-BE49-F238E27FC236}">
                <a16:creationId xmlns:a16="http://schemas.microsoft.com/office/drawing/2014/main" id="{19E01C2E-AC94-EC1E-2D24-CE346C035246}"/>
              </a:ext>
              <a:ext uri="{C183D7F6-B498-43B3-948B-1728B52AA6E4}">
                <adec:decorative xmlns:adec="http://schemas.microsoft.com/office/drawing/2017/decorative" val="1"/>
              </a:ext>
            </a:extLst>
          </p:cNvPr>
          <p:cNvSpPr/>
          <p:nvPr/>
        </p:nvSpPr>
        <p:spPr>
          <a:xfrm>
            <a:off x="548640" y="1622814"/>
            <a:ext cx="11176514" cy="4704834"/>
          </a:xfrm>
          <a:prstGeom prst="roundRect">
            <a:avLst>
              <a:gd name="adj" fmla="val 547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Tree>
    <p:extLst>
      <p:ext uri="{BB962C8B-B14F-4D97-AF65-F5344CB8AC3E}">
        <p14:creationId xmlns:p14="http://schemas.microsoft.com/office/powerpoint/2010/main" val="16137709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4101A-E6AA-1457-9030-1F671BABF8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936767-299A-048E-0BF5-E8EB629B6DF1}"/>
              </a:ext>
            </a:extLst>
          </p:cNvPr>
          <p:cNvSpPr>
            <a:spLocks noGrp="1"/>
          </p:cNvSpPr>
          <p:nvPr>
            <p:ph type="title"/>
          </p:nvPr>
        </p:nvSpPr>
        <p:spPr>
          <a:xfrm>
            <a:off x="548640" y="553413"/>
            <a:ext cx="11089323" cy="4287420"/>
          </a:xfrm>
        </p:spPr>
        <p:txBody>
          <a:bodyPr/>
          <a:lstStyle/>
          <a:p>
            <a:r>
              <a:rPr lang="en-US" dirty="0">
                <a:solidFill>
                  <a:schemeClr val="accent1"/>
                </a:solidFill>
              </a:rPr>
              <a:t>Hiring Core</a:t>
            </a:r>
            <a:endParaRPr lang="en-US" dirty="0"/>
          </a:p>
        </p:txBody>
      </p:sp>
    </p:spTree>
    <p:extLst>
      <p:ext uri="{BB962C8B-B14F-4D97-AF65-F5344CB8AC3E}">
        <p14:creationId xmlns:p14="http://schemas.microsoft.com/office/powerpoint/2010/main" val="269401615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275-7C75-2D83-5451-83B92A038792}"/>
              </a:ext>
            </a:extLst>
          </p:cNvPr>
          <p:cNvSpPr>
            <a:spLocks noGrp="1"/>
          </p:cNvSpPr>
          <p:nvPr>
            <p:ph type="title"/>
          </p:nvPr>
        </p:nvSpPr>
        <p:spPr/>
        <p:txBody>
          <a:bodyPr/>
          <a:lstStyle/>
          <a:p>
            <a:r>
              <a:rPr lang="en-US" dirty="0"/>
              <a:t>ATS integration</a:t>
            </a:r>
          </a:p>
        </p:txBody>
      </p:sp>
      <p:sp>
        <p:nvSpPr>
          <p:cNvPr id="4" name="Text Placeholder 3">
            <a:extLst>
              <a:ext uri="{FF2B5EF4-FFF2-40B4-BE49-F238E27FC236}">
                <a16:creationId xmlns:a16="http://schemas.microsoft.com/office/drawing/2014/main" id="{56AA968D-7346-67AC-711F-9CD20A9E95D5}"/>
              </a:ext>
            </a:extLst>
          </p:cNvPr>
          <p:cNvSpPr>
            <a:spLocks noGrp="1"/>
          </p:cNvSpPr>
          <p:nvPr>
            <p:ph type="body" sz="quarter" idx="16"/>
          </p:nvPr>
        </p:nvSpPr>
        <p:spPr/>
        <p:txBody>
          <a:bodyPr vert="horz" lIns="0" tIns="0" rIns="0" bIns="0" rtlCol="0" anchor="t">
            <a:noAutofit/>
          </a:bodyPr>
          <a:lstStyle/>
          <a:p>
            <a:pPr>
              <a:buNone/>
            </a:pPr>
            <a:r>
              <a:rPr lang="en-US" dirty="0"/>
              <a:t>Integrate your Hiring Experiences environment with your preferred ATS to create a seamless hiring workflow.</a:t>
            </a:r>
          </a:p>
          <a:p>
            <a:pPr marL="285750" indent="-285750">
              <a:buFont typeface="Arial" panose="020B0404040101010104" pitchFamily="34" charset="0"/>
              <a:buChar char="•"/>
            </a:pPr>
            <a:r>
              <a:rPr lang="en-US" dirty="0"/>
              <a:t>Send the job requisitions to your integrated ATS to get posted on the job boards</a:t>
            </a:r>
          </a:p>
          <a:p>
            <a:pPr marL="285750" indent="-285750">
              <a:buFont typeface="Arial" panose="020B0404040101010104" pitchFamily="34" charset="0"/>
              <a:buChar char="•"/>
            </a:pPr>
            <a:r>
              <a:rPr lang="en-US" dirty="0"/>
              <a:t>Bring all your historic job requisition data from your ATS to your ServiceNow instance with the import sets</a:t>
            </a:r>
          </a:p>
          <a:p>
            <a:pPr marL="285750" indent="-285750">
              <a:buFont typeface="Arial" panose="020B0404040101010104" pitchFamily="34" charset="0"/>
              <a:buChar char="•"/>
            </a:pPr>
            <a:r>
              <a:rPr lang="en-US" dirty="0"/>
              <a:t>Import the application and applicant details from your integrated ATS into the system for processing</a:t>
            </a:r>
          </a:p>
          <a:p>
            <a:pPr marL="285750" indent="-285750">
              <a:buFont typeface="Arial" panose="020B0404040101010104" pitchFamily="34" charset="0"/>
              <a:buChar char="•"/>
            </a:pPr>
            <a:r>
              <a:rPr lang="en-US" dirty="0"/>
              <a:t>Upload job application data from your ATS to your ServiceNow instance at regular intervals using import sets</a:t>
            </a:r>
            <a:br>
              <a:rPr lang="en-US" dirty="0"/>
            </a:br>
            <a:br>
              <a:rPr lang="en-US" dirty="0"/>
            </a:br>
            <a:endParaRPr lang="en-US" dirty="0"/>
          </a:p>
          <a:p>
            <a:pPr>
              <a:buFont typeface="Arial" panose="020B0404040101010104" pitchFamily="34" charset="0"/>
              <a:buChar char="•"/>
            </a:pPr>
            <a:endParaRPr lang="en-US" dirty="0"/>
          </a:p>
        </p:txBody>
      </p:sp>
    </p:spTree>
    <p:extLst>
      <p:ext uri="{BB962C8B-B14F-4D97-AF65-F5344CB8AC3E}">
        <p14:creationId xmlns:p14="http://schemas.microsoft.com/office/powerpoint/2010/main" val="12229959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AE111-B4DD-AE9A-470A-55FFD3D0762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6F29B6B-483F-4269-F215-D25E602653A1}"/>
              </a:ext>
            </a:extLst>
          </p:cNvPr>
          <p:cNvSpPr>
            <a:spLocks noGrp="1"/>
          </p:cNvSpPr>
          <p:nvPr>
            <p:ph type="title"/>
          </p:nvPr>
        </p:nvSpPr>
        <p:spPr>
          <a:xfrm>
            <a:off x="548640" y="530352"/>
            <a:ext cx="11082973" cy="594360"/>
          </a:xfrm>
        </p:spPr>
        <p:txBody>
          <a:bodyPr/>
          <a:lstStyle/>
          <a:p>
            <a:r>
              <a:rPr lang="en-US" dirty="0"/>
              <a:t>Company job architecture</a:t>
            </a:r>
          </a:p>
        </p:txBody>
      </p:sp>
      <p:sp>
        <p:nvSpPr>
          <p:cNvPr id="12" name="Content Placeholder 11">
            <a:extLst>
              <a:ext uri="{FF2B5EF4-FFF2-40B4-BE49-F238E27FC236}">
                <a16:creationId xmlns:a16="http://schemas.microsoft.com/office/drawing/2014/main" id="{33FBD6A1-0FED-675D-1D3B-A333AFA05AA6}"/>
              </a:ext>
            </a:extLst>
          </p:cNvPr>
          <p:cNvSpPr>
            <a:spLocks noGrp="1"/>
          </p:cNvSpPr>
          <p:nvPr>
            <p:ph type="body" sz="quarter" idx="16"/>
          </p:nvPr>
        </p:nvSpPr>
        <p:spPr>
          <a:xfrm>
            <a:off x="544830" y="1955800"/>
            <a:ext cx="5549582" cy="4270248"/>
          </a:xfrm>
        </p:spPr>
        <p:txBody>
          <a:bodyPr vert="horz" lIns="0" tIns="0" rIns="0" bIns="0" rtlCol="0" anchor="t">
            <a:noAutofit/>
          </a:bodyPr>
          <a:lstStyle/>
          <a:p>
            <a:pPr marL="285750" indent="-285750">
              <a:buFont typeface="Arial" panose="020B0604020202020204" pitchFamily="34" charset="0"/>
              <a:buChar char="•"/>
            </a:pPr>
            <a:r>
              <a:rPr lang="en-US" dirty="0">
                <a:ea typeface="+mn-lt"/>
                <a:cs typeface="+mn-lt"/>
              </a:rPr>
              <a:t>Split out job families into role groups</a:t>
            </a:r>
          </a:p>
          <a:p>
            <a:pPr marL="285750" indent="-285750">
              <a:buFont typeface="Arial" panose="020B0604020202020204" pitchFamily="34" charset="0"/>
              <a:buChar char="•"/>
            </a:pPr>
            <a:r>
              <a:rPr lang="en-US" dirty="0">
                <a:ea typeface="+mn-lt"/>
                <a:cs typeface="+mn-lt"/>
              </a:rPr>
              <a:t>Link (mandatory) skills for a job</a:t>
            </a:r>
          </a:p>
          <a:p>
            <a:pPr marL="285750" indent="-285750">
              <a:buFont typeface="Arial" panose="020B0604020202020204" pitchFamily="34" charset="0"/>
              <a:buChar char="•"/>
            </a:pPr>
            <a:r>
              <a:rPr lang="en-US" dirty="0">
                <a:ea typeface="+mn-lt"/>
                <a:cs typeface="+mn-lt"/>
              </a:rPr>
              <a:t>Link between role levels and role groups to support employee growth</a:t>
            </a:r>
          </a:p>
          <a:p>
            <a:pPr marL="285750" indent="-285750">
              <a:buFont typeface="Arial" panose="020B0604020202020204" pitchFamily="34" charset="0"/>
              <a:buChar char="•"/>
            </a:pPr>
            <a:r>
              <a:rPr lang="en-US" dirty="0">
                <a:ea typeface="+mn-lt"/>
                <a:cs typeface="+mn-lt"/>
              </a:rPr>
              <a:t>Configuration to auto-link common role progressions </a:t>
            </a:r>
            <a:br>
              <a:rPr lang="en-US" dirty="0">
                <a:ea typeface="+mn-lt"/>
                <a:cs typeface="+mn-lt"/>
              </a:rPr>
            </a:br>
            <a:r>
              <a:rPr lang="en-US" dirty="0">
                <a:ea typeface="+mn-lt"/>
                <a:cs typeface="+mn-lt"/>
              </a:rPr>
              <a:t>(IC3 &gt; IC4)</a:t>
            </a:r>
            <a:endParaRPr lang="en-US" dirty="0"/>
          </a:p>
          <a:p>
            <a:endParaRPr lang="en-US" dirty="0"/>
          </a:p>
        </p:txBody>
      </p:sp>
      <p:pic>
        <p:nvPicPr>
          <p:cNvPr id="2" name="Picture 1">
            <a:extLst>
              <a:ext uri="{FF2B5EF4-FFF2-40B4-BE49-F238E27FC236}">
                <a16:creationId xmlns:a16="http://schemas.microsoft.com/office/drawing/2014/main" id="{A3CFB22F-87AC-9A38-39C8-38A24CA7C80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50577" y="3429000"/>
            <a:ext cx="4438134" cy="2563011"/>
          </a:xfrm>
          <a:prstGeom prst="rect">
            <a:avLst/>
          </a:prstGeom>
        </p:spPr>
      </p:pic>
      <p:grpSp>
        <p:nvGrpSpPr>
          <p:cNvPr id="3" name="Group 2">
            <a:extLst>
              <a:ext uri="{FF2B5EF4-FFF2-40B4-BE49-F238E27FC236}">
                <a16:creationId xmlns:a16="http://schemas.microsoft.com/office/drawing/2014/main" id="{FF4CCCF9-271E-2A39-0AEE-5D1A206B5446}"/>
              </a:ext>
            </a:extLst>
          </p:cNvPr>
          <p:cNvGrpSpPr/>
          <p:nvPr/>
        </p:nvGrpSpPr>
        <p:grpSpPr>
          <a:xfrm>
            <a:off x="7642577" y="1313558"/>
            <a:ext cx="2854134" cy="1877222"/>
            <a:chOff x="8276348" y="1955944"/>
            <a:chExt cx="2854134" cy="1877222"/>
          </a:xfrm>
        </p:grpSpPr>
        <p:sp>
          <p:nvSpPr>
            <p:cNvPr id="5" name="TextBox 4">
              <a:extLst>
                <a:ext uri="{FF2B5EF4-FFF2-40B4-BE49-F238E27FC236}">
                  <a16:creationId xmlns:a16="http://schemas.microsoft.com/office/drawing/2014/main" id="{29437930-878F-4CA6-2B62-F308743C7D75}"/>
                </a:ext>
              </a:extLst>
            </p:cNvPr>
            <p:cNvSpPr txBox="1"/>
            <p:nvPr/>
          </p:nvSpPr>
          <p:spPr>
            <a:xfrm>
              <a:off x="8401050" y="1955944"/>
              <a:ext cx="2454525" cy="738664"/>
            </a:xfrm>
            <a:prstGeom prst="rect">
              <a:avLst/>
            </a:prstGeom>
            <a:noFill/>
          </p:spPr>
          <p:txBody>
            <a:bodyPr wrap="square">
              <a:spAutoFit/>
            </a:bodyPr>
            <a:lstStyle/>
            <a:p>
              <a:pPr marL="0" marR="0" lvl="0" indent="0" algn="ctr" defTabSz="456903" rtl="0" eaLnBrk="1" fontAlgn="auto" latinLnBrk="0" hangingPunct="1">
                <a:lnSpc>
                  <a:spcPct val="100000"/>
                </a:lnSpc>
                <a:spcBef>
                  <a:spcPts val="0"/>
                </a:spcBef>
                <a:spcAft>
                  <a:spcPts val="0"/>
                </a:spcAft>
                <a:buClrTx/>
                <a:buSzTx/>
                <a:buFontTx/>
                <a:buNone/>
                <a:tabLst/>
                <a:defRPr/>
              </a:pP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Software engineering</a:t>
              </a:r>
              <a:b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b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Senior software engineer</a:t>
              </a:r>
              <a:b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b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IC4</a:t>
              </a:r>
              <a:endParaRPr kumimoji="0" lang="en-DE" sz="1400" b="0" i="0" u="none" strike="noStrike" kern="1200" cap="none" spc="0" normalizeH="0" baseline="0" noProof="0">
                <a:ln>
                  <a:noFill/>
                </a:ln>
                <a:solidFill>
                  <a:srgbClr val="FFFFFF"/>
                </a:solidFill>
                <a:effectLst/>
                <a:uLnTx/>
                <a:uFillTx/>
                <a:latin typeface="ServiceNow Sans" panose="020B0504040101010104" pitchFamily="34" charset="77"/>
              </a:endParaRPr>
            </a:p>
          </p:txBody>
        </p:sp>
        <p:sp>
          <p:nvSpPr>
            <p:cNvPr id="6" name="TextBox 5">
              <a:extLst>
                <a:ext uri="{FF2B5EF4-FFF2-40B4-BE49-F238E27FC236}">
                  <a16:creationId xmlns:a16="http://schemas.microsoft.com/office/drawing/2014/main" id="{7AF1DE72-0DC4-9F5E-4A86-82321634508A}"/>
                </a:ext>
              </a:extLst>
            </p:cNvPr>
            <p:cNvSpPr txBox="1"/>
            <p:nvPr/>
          </p:nvSpPr>
          <p:spPr>
            <a:xfrm>
              <a:off x="8276348" y="3121223"/>
              <a:ext cx="984610" cy="307777"/>
            </a:xfrm>
            <a:prstGeom prst="rect">
              <a:avLst/>
            </a:prstGeom>
            <a:noFill/>
          </p:spPr>
          <p:txBody>
            <a:bodyPr wrap="square">
              <a:spAutoFit/>
            </a:bodyPr>
            <a:lstStyle/>
            <a:p>
              <a:pPr marL="0" marR="0" lvl="0" indent="0" algn="l" defTabSz="456903" rtl="0" eaLnBrk="1" fontAlgn="auto" latinLnBrk="0" hangingPunct="1">
                <a:lnSpc>
                  <a:spcPct val="100000"/>
                </a:lnSpc>
                <a:spcBef>
                  <a:spcPts val="0"/>
                </a:spcBef>
                <a:spcAft>
                  <a:spcPts val="0"/>
                </a:spcAft>
                <a:buClrTx/>
                <a:buSzTx/>
                <a:buFontTx/>
                <a:buNone/>
                <a:tabLst/>
                <a:defRPr/>
              </a:pP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Frontend</a:t>
              </a:r>
              <a:endParaRPr kumimoji="0" lang="en-DE" sz="1400" b="0" i="0" u="none" strike="noStrike" kern="1200" cap="none" spc="0" normalizeH="0" baseline="0" noProof="0">
                <a:ln>
                  <a:noFill/>
                </a:ln>
                <a:solidFill>
                  <a:srgbClr val="FFFFFF"/>
                </a:solidFill>
                <a:effectLst/>
                <a:uLnTx/>
                <a:uFillTx/>
                <a:latin typeface="ServiceNow Sans" panose="020B0504040101010104" pitchFamily="34" charset="77"/>
              </a:endParaRPr>
            </a:p>
          </p:txBody>
        </p:sp>
        <p:sp>
          <p:nvSpPr>
            <p:cNvPr id="7" name="TextBox 6">
              <a:extLst>
                <a:ext uri="{FF2B5EF4-FFF2-40B4-BE49-F238E27FC236}">
                  <a16:creationId xmlns:a16="http://schemas.microsoft.com/office/drawing/2014/main" id="{CFCDB044-4C32-2FBD-7BF4-BAEC6805B9AD}"/>
                </a:ext>
              </a:extLst>
            </p:cNvPr>
            <p:cNvSpPr txBox="1"/>
            <p:nvPr/>
          </p:nvSpPr>
          <p:spPr>
            <a:xfrm>
              <a:off x="9136007" y="3525389"/>
              <a:ext cx="984610" cy="307777"/>
            </a:xfrm>
            <a:prstGeom prst="rect">
              <a:avLst/>
            </a:prstGeom>
            <a:noFill/>
          </p:spPr>
          <p:txBody>
            <a:bodyPr wrap="square">
              <a:spAutoFit/>
            </a:bodyPr>
            <a:lstStyle/>
            <a:p>
              <a:pPr marL="0" marR="0" lvl="0" indent="0" algn="l" defTabSz="456903" rtl="0" eaLnBrk="1" fontAlgn="auto" latinLnBrk="0" hangingPunct="1">
                <a:lnSpc>
                  <a:spcPct val="100000"/>
                </a:lnSpc>
                <a:spcBef>
                  <a:spcPts val="0"/>
                </a:spcBef>
                <a:spcAft>
                  <a:spcPts val="0"/>
                </a:spcAft>
                <a:buClrTx/>
                <a:buSzTx/>
                <a:buFontTx/>
                <a:buNone/>
                <a:tabLst/>
                <a:defRPr/>
              </a:pP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Backend</a:t>
              </a:r>
              <a:endParaRPr kumimoji="0" lang="en-DE" sz="1400" b="0" i="0" u="none" strike="noStrike" kern="1200" cap="none" spc="0" normalizeH="0" baseline="0" noProof="0">
                <a:ln>
                  <a:noFill/>
                </a:ln>
                <a:solidFill>
                  <a:srgbClr val="FFFFFF"/>
                </a:solidFill>
                <a:effectLst/>
                <a:uLnTx/>
                <a:uFillTx/>
                <a:latin typeface="ServiceNow Sans" panose="020B0504040101010104" pitchFamily="34" charset="77"/>
              </a:endParaRPr>
            </a:p>
          </p:txBody>
        </p:sp>
        <p:sp>
          <p:nvSpPr>
            <p:cNvPr id="8" name="TextBox 7">
              <a:extLst>
                <a:ext uri="{FF2B5EF4-FFF2-40B4-BE49-F238E27FC236}">
                  <a16:creationId xmlns:a16="http://schemas.microsoft.com/office/drawing/2014/main" id="{53FCA84D-642F-AB3B-DC94-490B5EBCE0BD}"/>
                </a:ext>
              </a:extLst>
            </p:cNvPr>
            <p:cNvSpPr txBox="1"/>
            <p:nvPr/>
          </p:nvSpPr>
          <p:spPr>
            <a:xfrm>
              <a:off x="9960314" y="3142354"/>
              <a:ext cx="1170168" cy="307777"/>
            </a:xfrm>
            <a:prstGeom prst="rect">
              <a:avLst/>
            </a:prstGeom>
            <a:noFill/>
          </p:spPr>
          <p:txBody>
            <a:bodyPr wrap="square">
              <a:spAutoFit/>
            </a:bodyPr>
            <a:lstStyle/>
            <a:p>
              <a:pPr marL="0" marR="0" lvl="0" indent="0" algn="l" defTabSz="456903" rtl="0" eaLnBrk="1" fontAlgn="auto" latinLnBrk="0" hangingPunct="1">
                <a:lnSpc>
                  <a:spcPct val="100000"/>
                </a:lnSpc>
                <a:spcBef>
                  <a:spcPts val="0"/>
                </a:spcBef>
                <a:spcAft>
                  <a:spcPts val="0"/>
                </a:spcAft>
                <a:buClrTx/>
                <a:buSzTx/>
                <a:buFontTx/>
                <a:buNone/>
                <a:tabLst/>
                <a:defRPr/>
              </a:pPr>
              <a:r>
                <a:rPr kumimoji="0" lang="en-DE" sz="1400" b="1" i="0" u="none" strike="noStrike" kern="1200" cap="none" spc="0" normalizeH="0" baseline="0" noProof="0">
                  <a:ln>
                    <a:noFill/>
                  </a:ln>
                  <a:solidFill>
                    <a:srgbClr val="FFFFFF"/>
                  </a:solidFill>
                  <a:effectLst/>
                  <a:uLnTx/>
                  <a:uFillTx/>
                  <a:latin typeface="ServiceNow Sans" panose="020B0504040101010104" pitchFamily="34" charset="77"/>
                </a:rPr>
                <a:t>Full-stack</a:t>
              </a:r>
              <a:endParaRPr kumimoji="0" lang="en-DE" sz="1400" b="0" i="0" u="none" strike="noStrike" kern="1200" cap="none" spc="0" normalizeH="0" baseline="0" noProof="0">
                <a:ln>
                  <a:noFill/>
                </a:ln>
                <a:solidFill>
                  <a:srgbClr val="FFFFFF"/>
                </a:solidFill>
                <a:effectLst/>
                <a:uLnTx/>
                <a:uFillTx/>
                <a:latin typeface="ServiceNow Sans" panose="020B0504040101010104" pitchFamily="34" charset="77"/>
              </a:endParaRPr>
            </a:p>
          </p:txBody>
        </p:sp>
        <p:cxnSp>
          <p:nvCxnSpPr>
            <p:cNvPr id="10" name="Straight Arrow Connector 9">
              <a:extLst>
                <a:ext uri="{FF2B5EF4-FFF2-40B4-BE49-F238E27FC236}">
                  <a16:creationId xmlns:a16="http://schemas.microsoft.com/office/drawing/2014/main" id="{4BAD993A-F0F4-5D54-C148-41CF05348012}"/>
                </a:ext>
              </a:extLst>
            </p:cNvPr>
            <p:cNvCxnSpPr>
              <a:stCxn id="5" idx="2"/>
            </p:cNvCxnSpPr>
            <p:nvPr/>
          </p:nvCxnSpPr>
          <p:spPr>
            <a:xfrm flipH="1">
              <a:off x="9001983" y="2694608"/>
              <a:ext cx="626330" cy="361904"/>
            </a:xfrm>
            <a:prstGeom prst="straightConnector1">
              <a:avLst/>
            </a:prstGeom>
            <a:ln w="12700">
              <a:solidFill>
                <a:srgbClr val="52B8FF"/>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CDD0DE1-6EC7-2CCD-BB40-30C1516B2D0E}"/>
                </a:ext>
              </a:extLst>
            </p:cNvPr>
            <p:cNvCxnSpPr>
              <a:cxnSpLocks/>
              <a:stCxn id="5" idx="2"/>
            </p:cNvCxnSpPr>
            <p:nvPr/>
          </p:nvCxnSpPr>
          <p:spPr>
            <a:xfrm>
              <a:off x="9628313" y="2694608"/>
              <a:ext cx="0" cy="766070"/>
            </a:xfrm>
            <a:prstGeom prst="straightConnector1">
              <a:avLst/>
            </a:prstGeom>
            <a:ln w="12700">
              <a:solidFill>
                <a:srgbClr val="52B8FF"/>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8D4BF16-A431-AD9C-0068-C11482B71F8F}"/>
                </a:ext>
              </a:extLst>
            </p:cNvPr>
            <p:cNvCxnSpPr>
              <a:cxnSpLocks/>
              <a:stCxn id="5" idx="2"/>
            </p:cNvCxnSpPr>
            <p:nvPr/>
          </p:nvCxnSpPr>
          <p:spPr>
            <a:xfrm>
              <a:off x="9628313" y="2694608"/>
              <a:ext cx="664003" cy="361904"/>
            </a:xfrm>
            <a:prstGeom prst="straightConnector1">
              <a:avLst/>
            </a:prstGeom>
            <a:ln w="12700">
              <a:solidFill>
                <a:srgbClr val="52B8FF"/>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48813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E9BBD-E656-FD88-4CB1-57A9CA41B02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24203FF-7E76-D39E-A4E3-EAEB4B3FD26A}"/>
              </a:ext>
            </a:extLst>
          </p:cNvPr>
          <p:cNvSpPr>
            <a:spLocks noGrp="1"/>
          </p:cNvSpPr>
          <p:nvPr>
            <p:ph type="title"/>
          </p:nvPr>
        </p:nvSpPr>
        <p:spPr>
          <a:xfrm>
            <a:off x="548640" y="530352"/>
            <a:ext cx="11082973" cy="594360"/>
          </a:xfrm>
        </p:spPr>
        <p:txBody>
          <a:bodyPr/>
          <a:lstStyle/>
          <a:p>
            <a:r>
              <a:rPr lang="en-US" dirty="0">
                <a:cs typeface="ServiceNow Sans Bold"/>
              </a:rPr>
              <a:t>Company job architecture</a:t>
            </a:r>
            <a:endParaRPr lang="en-US" b="0" dirty="0">
              <a:solidFill>
                <a:srgbClr val="000000"/>
              </a:solidFill>
              <a:cs typeface="ServiceNow Sans Bold"/>
            </a:endParaRPr>
          </a:p>
          <a:p>
            <a:endParaRPr lang="en-US" dirty="0"/>
          </a:p>
        </p:txBody>
      </p:sp>
      <p:sp>
        <p:nvSpPr>
          <p:cNvPr id="9" name="Text Placeholder 8">
            <a:extLst>
              <a:ext uri="{FF2B5EF4-FFF2-40B4-BE49-F238E27FC236}">
                <a16:creationId xmlns:a16="http://schemas.microsoft.com/office/drawing/2014/main" id="{0EA8FF0B-38A3-A3D6-0B59-E4FAD7DBFA2B}"/>
              </a:ext>
            </a:extLst>
          </p:cNvPr>
          <p:cNvSpPr>
            <a:spLocks noGrp="1"/>
          </p:cNvSpPr>
          <p:nvPr>
            <p:ph type="subTitle" idx="13"/>
          </p:nvPr>
        </p:nvSpPr>
        <p:spPr>
          <a:xfrm>
            <a:off x="548640" y="1097280"/>
            <a:ext cx="11088688" cy="696849"/>
          </a:xfrm>
        </p:spPr>
        <p:txBody>
          <a:bodyPr vert="horz" lIns="0" tIns="0" rIns="0" bIns="0" rtlCol="0" anchor="t">
            <a:noAutofit/>
          </a:bodyPr>
          <a:lstStyle/>
          <a:p>
            <a:r>
              <a:rPr lang="en-US" dirty="0">
                <a:latin typeface="ServiceNow Sans"/>
              </a:rPr>
              <a:t>Skills Workspace</a:t>
            </a:r>
            <a:endParaRPr lang="en-US" dirty="0"/>
          </a:p>
        </p:txBody>
      </p:sp>
      <p:sp>
        <p:nvSpPr>
          <p:cNvPr id="12" name="Content Placeholder 11">
            <a:extLst>
              <a:ext uri="{FF2B5EF4-FFF2-40B4-BE49-F238E27FC236}">
                <a16:creationId xmlns:a16="http://schemas.microsoft.com/office/drawing/2014/main" id="{9D57BD34-3477-F194-65DC-F5D4A32A905A}"/>
              </a:ext>
            </a:extLst>
          </p:cNvPr>
          <p:cNvSpPr>
            <a:spLocks noGrp="1"/>
          </p:cNvSpPr>
          <p:nvPr>
            <p:ph type="body" sz="quarter" idx="16"/>
          </p:nvPr>
        </p:nvSpPr>
        <p:spPr>
          <a:xfrm>
            <a:off x="544830" y="1955800"/>
            <a:ext cx="3367413" cy="4270248"/>
          </a:xfrm>
        </p:spPr>
        <p:txBody>
          <a:bodyPr/>
          <a:lstStyle/>
          <a:p>
            <a:pPr marL="285750" indent="-285750" fontAlgn="base">
              <a:buFont typeface="Arial" panose="020B0604020202020204" pitchFamily="34" charset="0"/>
              <a:buChar char="•"/>
            </a:pPr>
            <a:r>
              <a:rPr lang="en-US" dirty="0">
                <a:ea typeface="+mn-lt"/>
                <a:cs typeface="+mn-lt"/>
              </a:rPr>
              <a:t>Hierarchical view of job architecture:​</a:t>
            </a:r>
          </a:p>
          <a:p>
            <a:pPr lvl="2" fontAlgn="base">
              <a:buFont typeface="Arial" panose="020B0604020202020204" pitchFamily="34" charset="0"/>
              <a:buChar char="•"/>
            </a:pPr>
            <a:r>
              <a:rPr lang="en-US" sz="1600" dirty="0">
                <a:ea typeface="+mn-lt"/>
                <a:cs typeface="+mn-lt"/>
              </a:rPr>
              <a:t>job categories (if entered)​</a:t>
            </a:r>
          </a:p>
          <a:p>
            <a:pPr lvl="2" fontAlgn="base">
              <a:buFont typeface="Arial" panose="020B0604020202020204" pitchFamily="34" charset="0"/>
              <a:buChar char="•"/>
            </a:pPr>
            <a:r>
              <a:rPr lang="en-US" sz="1600" dirty="0">
                <a:ea typeface="+mn-lt"/>
                <a:cs typeface="+mn-lt"/>
              </a:rPr>
              <a:t>job families​</a:t>
            </a:r>
          </a:p>
          <a:p>
            <a:pPr lvl="2" fontAlgn="base">
              <a:buFont typeface="Arial" panose="020B0604020202020204" pitchFamily="34" charset="0"/>
              <a:buChar char="•"/>
            </a:pPr>
            <a:r>
              <a:rPr lang="en-US" sz="1600" dirty="0">
                <a:ea typeface="+mn-lt"/>
                <a:cs typeface="+mn-lt"/>
              </a:rPr>
              <a:t>role groups​</a:t>
            </a:r>
          </a:p>
          <a:p>
            <a:pPr marL="285750" indent="-285750" fontAlgn="base">
              <a:buFont typeface="Arial" panose="020B0604020202020204" pitchFamily="34" charset="0"/>
              <a:buChar char="•"/>
            </a:pPr>
            <a:r>
              <a:rPr lang="en-US" dirty="0">
                <a:ea typeface="+mn-lt"/>
                <a:cs typeface="+mn-lt"/>
              </a:rPr>
              <a:t>Context panel showing related information​</a:t>
            </a:r>
          </a:p>
          <a:p>
            <a:pPr marL="285750" indent="-285750" fontAlgn="base">
              <a:buFont typeface="Arial" panose="020B0604020202020204" pitchFamily="34" charset="0"/>
              <a:buChar char="•"/>
            </a:pPr>
            <a:r>
              <a:rPr lang="en-US" dirty="0">
                <a:ea typeface="+mn-lt"/>
                <a:cs typeface="+mn-lt"/>
              </a:rPr>
              <a:t>Ability to get to detailed views for more insights​</a:t>
            </a:r>
          </a:p>
          <a:p>
            <a:endParaRPr lang="en-US" sz="2000" dirty="0"/>
          </a:p>
        </p:txBody>
      </p:sp>
      <p:grpSp>
        <p:nvGrpSpPr>
          <p:cNvPr id="14" name="Group 13">
            <a:extLst>
              <a:ext uri="{FF2B5EF4-FFF2-40B4-BE49-F238E27FC236}">
                <a16:creationId xmlns:a16="http://schemas.microsoft.com/office/drawing/2014/main" id="{B3174750-0F46-E9A3-8D17-741F744C4E9B}"/>
              </a:ext>
            </a:extLst>
          </p:cNvPr>
          <p:cNvGrpSpPr/>
          <p:nvPr/>
        </p:nvGrpSpPr>
        <p:grpSpPr>
          <a:xfrm>
            <a:off x="4523969" y="1605794"/>
            <a:ext cx="7107644" cy="3962618"/>
            <a:chOff x="1614264" y="1316414"/>
            <a:chExt cx="7107644" cy="3962618"/>
          </a:xfrm>
        </p:grpSpPr>
        <p:pic>
          <p:nvPicPr>
            <p:cNvPr id="15" name="Picture 14" descr="A screenshot of a computer&#10;&#10;Description automatically generated">
              <a:extLst>
                <a:ext uri="{FF2B5EF4-FFF2-40B4-BE49-F238E27FC236}">
                  <a16:creationId xmlns:a16="http://schemas.microsoft.com/office/drawing/2014/main" id="{8D0AFA2B-9348-5643-9711-4814BF695696}"/>
                </a:ext>
              </a:extLst>
            </p:cNvPr>
            <p:cNvPicPr>
              <a:picLocks noChangeAspect="1"/>
            </p:cNvPicPr>
            <p:nvPr/>
          </p:nvPicPr>
          <p:blipFill>
            <a:blip r:embed="rId2"/>
            <a:srcRect r="23375"/>
            <a:stretch/>
          </p:blipFill>
          <p:spPr>
            <a:xfrm>
              <a:off x="1614264" y="1316414"/>
              <a:ext cx="7107644" cy="3962618"/>
            </a:xfrm>
            <a:prstGeom prst="rect">
              <a:avLst/>
            </a:prstGeom>
          </p:spPr>
        </p:pic>
        <p:pic>
          <p:nvPicPr>
            <p:cNvPr id="16" name="Picture 15" descr="A screenshot of a computer&#10;&#10;Description automatically generated">
              <a:extLst>
                <a:ext uri="{FF2B5EF4-FFF2-40B4-BE49-F238E27FC236}">
                  <a16:creationId xmlns:a16="http://schemas.microsoft.com/office/drawing/2014/main" id="{7121BC86-FD10-568B-8CA3-29A20AE97FE7}"/>
                </a:ext>
              </a:extLst>
            </p:cNvPr>
            <p:cNvPicPr>
              <a:picLocks noChangeAspect="1"/>
            </p:cNvPicPr>
            <p:nvPr/>
          </p:nvPicPr>
          <p:blipFill>
            <a:blip r:embed="rId3"/>
            <a:srcRect l="92546" t="17029" r="985" b="47101"/>
            <a:stretch/>
          </p:blipFill>
          <p:spPr>
            <a:xfrm>
              <a:off x="7978811" y="1876341"/>
              <a:ext cx="599989" cy="1421382"/>
            </a:xfrm>
            <a:prstGeom prst="rect">
              <a:avLst/>
            </a:prstGeom>
          </p:spPr>
        </p:pic>
      </p:grpSp>
      <p:pic>
        <p:nvPicPr>
          <p:cNvPr id="17" name="Picture 16" descr="A screenshot of a computer&#10;&#10;Description automatically generated">
            <a:extLst>
              <a:ext uri="{FF2B5EF4-FFF2-40B4-BE49-F238E27FC236}">
                <a16:creationId xmlns:a16="http://schemas.microsoft.com/office/drawing/2014/main" id="{0C471C56-14D2-A645-10B8-4D2C5C461271}"/>
              </a:ext>
            </a:extLst>
          </p:cNvPr>
          <p:cNvPicPr>
            <a:picLocks noChangeAspect="1"/>
          </p:cNvPicPr>
          <p:nvPr/>
        </p:nvPicPr>
        <p:blipFill rotWithShape="1">
          <a:blip r:embed="rId4"/>
          <a:srcRect l="82482" t="11120" b="55512"/>
          <a:stretch/>
        </p:blipFill>
        <p:spPr>
          <a:xfrm>
            <a:off x="9225604" y="4341299"/>
            <a:ext cx="2154549" cy="2019941"/>
          </a:xfrm>
          <a:prstGeom prst="rect">
            <a:avLst/>
          </a:prstGeom>
          <a:ln>
            <a:solidFill>
              <a:schemeClr val="tx1"/>
            </a:solidFill>
            <a:prstDash val="dash"/>
          </a:ln>
        </p:spPr>
      </p:pic>
    </p:spTree>
    <p:extLst>
      <p:ext uri="{BB962C8B-B14F-4D97-AF65-F5344CB8AC3E}">
        <p14:creationId xmlns:p14="http://schemas.microsoft.com/office/powerpoint/2010/main" val="368913385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B3AA2-A189-71ED-6E5C-285B8665A5A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E825442-941B-DCB7-BF4B-EE3314D738A8}"/>
              </a:ext>
            </a:extLst>
          </p:cNvPr>
          <p:cNvSpPr>
            <a:spLocks noGrp="1"/>
          </p:cNvSpPr>
          <p:nvPr>
            <p:ph type="title"/>
          </p:nvPr>
        </p:nvSpPr>
        <p:spPr/>
        <p:txBody>
          <a:bodyPr/>
          <a:lstStyle/>
          <a:p>
            <a:r>
              <a:rPr lang="en-US" dirty="0"/>
              <a:t>Purge policies</a:t>
            </a:r>
          </a:p>
        </p:txBody>
      </p:sp>
      <p:sp>
        <p:nvSpPr>
          <p:cNvPr id="8" name="Content Placeholder 11">
            <a:extLst>
              <a:ext uri="{FF2B5EF4-FFF2-40B4-BE49-F238E27FC236}">
                <a16:creationId xmlns:a16="http://schemas.microsoft.com/office/drawing/2014/main" id="{3E6467B9-41BA-3C49-6484-D4C03C40C021}"/>
              </a:ext>
            </a:extLst>
          </p:cNvPr>
          <p:cNvSpPr>
            <a:spLocks noGrp="1"/>
          </p:cNvSpPr>
          <p:nvPr>
            <p:ph type="body" sz="quarter" idx="16"/>
          </p:nvPr>
        </p:nvSpPr>
        <p:spPr/>
        <p:txBody>
          <a:bodyPr/>
          <a:lstStyle/>
          <a:p>
            <a:pPr marL="285750" indent="-285750" fontAlgn="base">
              <a:buFont typeface="Arial" panose="020B0604020202020204" pitchFamily="34" charset="0"/>
              <a:buChar char="•"/>
            </a:pPr>
            <a:r>
              <a:rPr lang="en-US" sz="1600" dirty="0">
                <a:ea typeface="+mn-lt"/>
                <a:cs typeface="+mn-lt"/>
              </a:rPr>
              <a:t>Purge policies can be defined to ensure data is cleaned up according to your organizational requirements</a:t>
            </a:r>
          </a:p>
          <a:p>
            <a:endParaRPr lang="en-US" dirty="0"/>
          </a:p>
        </p:txBody>
      </p:sp>
      <p:graphicFrame>
        <p:nvGraphicFramePr>
          <p:cNvPr id="7" name="Table 6">
            <a:extLst>
              <a:ext uri="{FF2B5EF4-FFF2-40B4-BE49-F238E27FC236}">
                <a16:creationId xmlns:a16="http://schemas.microsoft.com/office/drawing/2014/main" id="{314C8768-D830-EC24-91BB-73F811017357}"/>
              </a:ext>
            </a:extLst>
          </p:cNvPr>
          <p:cNvGraphicFramePr>
            <a:graphicFrameLocks noGrp="1"/>
          </p:cNvGraphicFramePr>
          <p:nvPr>
            <p:extLst>
              <p:ext uri="{D42A27DB-BD31-4B8C-83A1-F6EECF244321}">
                <p14:modId xmlns:p14="http://schemas.microsoft.com/office/powerpoint/2010/main" val="2335688370"/>
              </p:ext>
            </p:extLst>
          </p:nvPr>
        </p:nvGraphicFramePr>
        <p:xfrm>
          <a:off x="1321000" y="2684697"/>
          <a:ext cx="9530631" cy="2595880"/>
        </p:xfrm>
        <a:graphic>
          <a:graphicData uri="http://schemas.openxmlformats.org/drawingml/2006/table">
            <a:tbl>
              <a:tblPr firstRow="1" bandRow="1">
                <a:tableStyleId>{9D7B26C5-4107-4FEC-AEDC-1716B250A1EF}</a:tableStyleId>
              </a:tblPr>
              <a:tblGrid>
                <a:gridCol w="3552583">
                  <a:extLst>
                    <a:ext uri="{9D8B030D-6E8A-4147-A177-3AD203B41FA5}">
                      <a16:colId xmlns:a16="http://schemas.microsoft.com/office/drawing/2014/main" val="1822053550"/>
                    </a:ext>
                  </a:extLst>
                </a:gridCol>
                <a:gridCol w="3045149">
                  <a:extLst>
                    <a:ext uri="{9D8B030D-6E8A-4147-A177-3AD203B41FA5}">
                      <a16:colId xmlns:a16="http://schemas.microsoft.com/office/drawing/2014/main" val="3683672080"/>
                    </a:ext>
                  </a:extLst>
                </a:gridCol>
                <a:gridCol w="2932899">
                  <a:extLst>
                    <a:ext uri="{9D8B030D-6E8A-4147-A177-3AD203B41FA5}">
                      <a16:colId xmlns:a16="http://schemas.microsoft.com/office/drawing/2014/main" val="4206263844"/>
                    </a:ext>
                  </a:extLst>
                </a:gridCol>
              </a:tblGrid>
              <a:tr h="370840">
                <a:tc>
                  <a:txBody>
                    <a:bodyPr/>
                    <a:lstStyle/>
                    <a:p>
                      <a:pPr algn="l" fontAlgn="t">
                        <a:buNone/>
                      </a:pPr>
                      <a:r>
                        <a:rPr lang="en-US" sz="1400" b="1" u="none" strike="noStrike" dirty="0">
                          <a:solidFill>
                            <a:srgbClr val="63DF4E"/>
                          </a:solidFill>
                          <a:effectLst/>
                        </a:rPr>
                        <a:t>Table</a:t>
                      </a:r>
                      <a:endParaRPr lang="en-US" sz="1400" b="1" i="0" u="none" strike="noStrike" dirty="0">
                        <a:solidFill>
                          <a:srgbClr val="63DF4E"/>
                        </a:solidFill>
                        <a:effectLst/>
                        <a:latin typeface="+mn-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t">
                        <a:buNone/>
                      </a:pPr>
                      <a:r>
                        <a:rPr lang="en-US" sz="1400" b="1" u="none" strike="noStrike" dirty="0">
                          <a:solidFill>
                            <a:srgbClr val="63DF4E"/>
                          </a:solidFill>
                          <a:effectLst/>
                        </a:rPr>
                        <a:t>Match field type</a:t>
                      </a:r>
                      <a:endParaRPr lang="en-US" sz="1400" b="1" i="0" u="none" strike="noStrike" dirty="0">
                        <a:solidFill>
                          <a:srgbClr val="63DF4E"/>
                        </a:solidFill>
                        <a:effectLst/>
                        <a:latin typeface="+mn-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t">
                        <a:buNone/>
                      </a:pPr>
                      <a:r>
                        <a:rPr lang="en-US" sz="1400" b="1" u="none" strike="noStrike" dirty="0">
                          <a:solidFill>
                            <a:srgbClr val="63DF4E"/>
                          </a:solidFill>
                          <a:effectLst/>
                        </a:rPr>
                        <a:t>Data retention</a:t>
                      </a:r>
                      <a:endParaRPr lang="en-US" sz="1400" b="1" i="0" u="none" strike="noStrike" dirty="0">
                        <a:solidFill>
                          <a:srgbClr val="63DF4E"/>
                        </a:solidFill>
                        <a:effectLst/>
                        <a:latin typeface="+mn-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00890757"/>
                  </a:ext>
                </a:extLst>
              </a:tr>
              <a:tr h="370840">
                <a:tc>
                  <a:txBody>
                    <a:bodyPr/>
                    <a:lstStyle/>
                    <a:p>
                      <a:pPr algn="l" fontAlgn="b">
                        <a:buNone/>
                      </a:pPr>
                      <a:r>
                        <a:rPr lang="en-US" sz="1100" b="0" u="none" strike="noStrike" dirty="0">
                          <a:solidFill>
                            <a:schemeClr val="bg1"/>
                          </a:solidFill>
                          <a:effectLst/>
                        </a:rPr>
                        <a:t>sn_ta_hiring_core_job_application</a:t>
                      </a:r>
                      <a:endParaRPr lang="en-US" sz="1100" b="0" i="0" u="none" strike="noStrike" dirty="0">
                        <a:solidFill>
                          <a:schemeClr val="bg1"/>
                        </a:solidFill>
                        <a:effectLst/>
                        <a:latin typeface="+mn-lt"/>
                      </a:endParaRPr>
                    </a:p>
                  </a:txBody>
                  <a:tcPr marL="9525" marR="9525" marT="9525" marB="0" anchor="b">
                    <a:lnL>
                      <a:noFill/>
                    </a:lnL>
                    <a:lnR>
                      <a:noFill/>
                    </a:lnR>
                    <a:lnT w="12700" cmpd="sng">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ys_updated_on</a:t>
                      </a:r>
                      <a:endParaRPr lang="en-US" sz="1100" b="0" i="0" u="none" strike="noStrike" dirty="0">
                        <a:solidFill>
                          <a:schemeClr val="bg1"/>
                        </a:solidFill>
                        <a:effectLst/>
                        <a:latin typeface="+mn-lt"/>
                      </a:endParaRPr>
                    </a:p>
                  </a:txBody>
                  <a:tcPr marL="9525" marR="9525" marT="9525" marB="0" anchor="b">
                    <a:lnL>
                      <a:noFill/>
                    </a:lnL>
                    <a:lnR>
                      <a:noFill/>
                    </a:lnR>
                    <a:lnT w="12700" cmpd="sng">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3 years</a:t>
                      </a:r>
                      <a:endParaRPr lang="en-US" sz="1100" b="0" i="0" u="none" strike="noStrike" dirty="0">
                        <a:solidFill>
                          <a:schemeClr val="bg1"/>
                        </a:solidFill>
                        <a:effectLst/>
                        <a:latin typeface="+mn-lt"/>
                      </a:endParaRPr>
                    </a:p>
                  </a:txBody>
                  <a:tcPr marL="9525" marR="9525" marT="9525" marB="0" anchor="b">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85736231"/>
                  </a:ext>
                </a:extLst>
              </a:tr>
              <a:tr h="370840">
                <a:tc>
                  <a:txBody>
                    <a:bodyPr/>
                    <a:lstStyle/>
                    <a:p>
                      <a:pPr algn="l" fontAlgn="b">
                        <a:buNone/>
                      </a:pPr>
                      <a:r>
                        <a:rPr lang="en-US" sz="1100" b="0" u="none" strike="noStrike" dirty="0">
                          <a:solidFill>
                            <a:schemeClr val="bg1"/>
                          </a:solidFill>
                          <a:effectLst/>
                        </a:rPr>
                        <a:t>sn_ta_tp_talent_profile</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ys_updated_on</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3 years</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95513391"/>
                  </a:ext>
                </a:extLst>
              </a:tr>
              <a:tr h="370840">
                <a:tc>
                  <a:txBody>
                    <a:bodyPr/>
                    <a:lstStyle/>
                    <a:p>
                      <a:pPr algn="l" fontAlgn="b">
                        <a:buNone/>
                      </a:pPr>
                      <a:r>
                        <a:rPr lang="en-US" sz="1100" b="0" u="none" strike="noStrike" dirty="0">
                          <a:solidFill>
                            <a:schemeClr val="bg1"/>
                          </a:solidFill>
                          <a:effectLst/>
                        </a:rPr>
                        <a:t>sn_ta_hiring_core_job_applicant</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ys_updated_on</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3 years</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11984101"/>
                  </a:ext>
                </a:extLst>
              </a:tr>
              <a:tr h="370840">
                <a:tc>
                  <a:txBody>
                    <a:bodyPr/>
                    <a:lstStyle/>
                    <a:p>
                      <a:pPr algn="l" fontAlgn="b">
                        <a:buNone/>
                      </a:pPr>
                      <a:r>
                        <a:rPr lang="en-US" sz="1100" b="0" u="none" strike="noStrike" dirty="0">
                          <a:solidFill>
                            <a:schemeClr val="bg1"/>
                          </a:solidFill>
                          <a:effectLst/>
                        </a:rPr>
                        <a:t>sn_ta_tp_talent_pool</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ys_updated_on</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3 years</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49910221"/>
                  </a:ext>
                </a:extLst>
              </a:tr>
              <a:tr h="370840">
                <a:tc>
                  <a:txBody>
                    <a:bodyPr/>
                    <a:lstStyle/>
                    <a:p>
                      <a:pPr algn="l" fontAlgn="b">
                        <a:buNone/>
                      </a:pPr>
                      <a:r>
                        <a:rPr lang="en-US" sz="1100" b="0" u="none" strike="noStrike" dirty="0">
                          <a:solidFill>
                            <a:schemeClr val="bg1"/>
                          </a:solidFill>
                          <a:effectLst/>
                        </a:rPr>
                        <a:t>sn_ta_hiring_core_job_requisition</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sys_updated_on</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3 years</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72166594"/>
                  </a:ext>
                </a:extLst>
              </a:tr>
              <a:tr h="370840">
                <a:tc>
                  <a:txBody>
                    <a:bodyPr/>
                    <a:lstStyle/>
                    <a:p>
                      <a:pPr algn="l" fontAlgn="b">
                        <a:buNone/>
                      </a:pPr>
                      <a:r>
                        <a:rPr lang="en-US" sz="1100" b="0" u="none" strike="noStrike" dirty="0">
                          <a:solidFill>
                            <a:schemeClr val="bg1"/>
                          </a:solidFill>
                          <a:effectLst/>
                        </a:rPr>
                        <a:t>sn_ta_tp_talent_profile (consent updates)</a:t>
                      </a:r>
                      <a:endParaRPr lang="en-US" sz="1100" b="0" i="0" u="none" strike="noStrike" dirty="0">
                        <a:solidFill>
                          <a:schemeClr val="bg1"/>
                        </a:solidFill>
                        <a:effectLst/>
                        <a:latin typeface="+mn-lt"/>
                      </a:endParaRPr>
                    </a:p>
                  </a:txBody>
                  <a:tcPr marL="9525" marR="9525" marT="9525" marB="0" anchor="b">
                    <a:lnL>
                      <a:noFill/>
                    </a:lnL>
                    <a:lnR>
                      <a:noFill/>
                    </a:lnR>
                    <a:lnT>
                      <a:noFill/>
                    </a:lnT>
                    <a:lnB w="12700" cmpd="sng">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job_applicant.consent_updated</a:t>
                      </a:r>
                      <a:endParaRPr lang="en-US" sz="1100" b="0" i="0" u="none" strike="noStrike" dirty="0">
                        <a:solidFill>
                          <a:schemeClr val="bg1"/>
                        </a:solidFill>
                        <a:effectLst/>
                        <a:latin typeface="+mn-lt"/>
                      </a:endParaRPr>
                    </a:p>
                  </a:txBody>
                  <a:tcPr marL="9525" marR="9525" marT="9525" marB="0" anchor="b">
                    <a:lnL>
                      <a:noFill/>
                    </a:lnL>
                    <a:lnR>
                      <a:noFill/>
                    </a:lnR>
                    <a:lnT>
                      <a:noFill/>
                    </a:lnT>
                    <a:lnB w="12700" cmpd="sng">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1 year</a:t>
                      </a:r>
                      <a:endParaRPr lang="en-US" sz="1100" b="0" i="0" u="none" strike="noStrike" dirty="0">
                        <a:solidFill>
                          <a:schemeClr val="bg1"/>
                        </a:solidFill>
                        <a:effectLst/>
                        <a:latin typeface="+mn-lt"/>
                      </a:endParaRPr>
                    </a:p>
                  </a:txBody>
                  <a:tcPr marL="9525" marR="9525" marT="9525" marB="0" anchor="b">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34638906"/>
                  </a:ext>
                </a:extLst>
              </a:tr>
            </a:tbl>
          </a:graphicData>
        </a:graphic>
      </p:graphicFrame>
      <p:sp>
        <p:nvSpPr>
          <p:cNvPr id="5" name="Rounded Rectangle 4">
            <a:extLst>
              <a:ext uri="{FF2B5EF4-FFF2-40B4-BE49-F238E27FC236}">
                <a16:creationId xmlns:a16="http://schemas.microsoft.com/office/drawing/2014/main" id="{A1DA7AC3-6E63-94F6-AA6F-DA80DFAB2001}"/>
              </a:ext>
              <a:ext uri="{C183D7F6-B498-43B3-948B-1728B52AA6E4}">
                <adec:decorative xmlns:adec="http://schemas.microsoft.com/office/drawing/2017/decorative" val="1"/>
              </a:ext>
            </a:extLst>
          </p:cNvPr>
          <p:cNvSpPr/>
          <p:nvPr/>
        </p:nvSpPr>
        <p:spPr>
          <a:xfrm>
            <a:off x="1157468" y="2684697"/>
            <a:ext cx="9710357" cy="2732256"/>
          </a:xfrm>
          <a:prstGeom prst="roundRect">
            <a:avLst>
              <a:gd name="adj" fmla="val 547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Tree>
    <p:extLst>
      <p:ext uri="{BB962C8B-B14F-4D97-AF65-F5344CB8AC3E}">
        <p14:creationId xmlns:p14="http://schemas.microsoft.com/office/powerpoint/2010/main" val="38048828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E6647-5122-3D6B-91CB-BB051A9C9DD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79466A5-724C-6DAD-C68D-CF210F61ADCA}"/>
              </a:ext>
            </a:extLst>
          </p:cNvPr>
          <p:cNvSpPr>
            <a:spLocks noGrp="1"/>
          </p:cNvSpPr>
          <p:nvPr>
            <p:ph type="title"/>
          </p:nvPr>
        </p:nvSpPr>
        <p:spPr>
          <a:prstGeom prst="rect">
            <a:avLst/>
          </a:prstGeom>
        </p:spPr>
        <p:txBody>
          <a:bodyPr/>
          <a:lstStyle/>
          <a:p>
            <a:r>
              <a:rPr lang="en-US" dirty="0"/>
              <a:t>User instructions</a:t>
            </a:r>
          </a:p>
        </p:txBody>
      </p:sp>
      <p:sp>
        <p:nvSpPr>
          <p:cNvPr id="6" name="Subtitle 5">
            <a:extLst>
              <a:ext uri="{FF2B5EF4-FFF2-40B4-BE49-F238E27FC236}">
                <a16:creationId xmlns:a16="http://schemas.microsoft.com/office/drawing/2014/main" id="{860F5791-8FFA-120C-9BBF-53C7929E4B89}"/>
              </a:ext>
            </a:extLst>
          </p:cNvPr>
          <p:cNvSpPr>
            <a:spLocks noGrp="1"/>
          </p:cNvSpPr>
          <p:nvPr>
            <p:ph type="subTitle" idx="13"/>
          </p:nvPr>
        </p:nvSpPr>
        <p:spPr>
          <a:prstGeom prst="rect">
            <a:avLst/>
          </a:prstGeom>
        </p:spPr>
        <p:txBody>
          <a:bodyPr/>
          <a:lstStyle/>
          <a:p>
            <a:r>
              <a:rPr lang="en-US" b="1" dirty="0"/>
              <a:t>PLEASE REMOVE THIS SLIDE BEFORE PRESENTING</a:t>
            </a:r>
          </a:p>
        </p:txBody>
      </p:sp>
      <p:sp>
        <p:nvSpPr>
          <p:cNvPr id="7" name="Text Placeholder 6">
            <a:extLst>
              <a:ext uri="{FF2B5EF4-FFF2-40B4-BE49-F238E27FC236}">
                <a16:creationId xmlns:a16="http://schemas.microsoft.com/office/drawing/2014/main" id="{C087DE12-C043-E501-AC5D-456A1D5337C1}"/>
              </a:ext>
            </a:extLst>
          </p:cNvPr>
          <p:cNvSpPr>
            <a:spLocks noGrp="1"/>
          </p:cNvSpPr>
          <p:nvPr>
            <p:ph type="body" sz="quarter" idx="16"/>
          </p:nvPr>
        </p:nvSpPr>
        <p:spPr>
          <a:prstGeom prst="rect">
            <a:avLst/>
          </a:prstGeom>
        </p:spPr>
        <p:txBody>
          <a:bodyPr/>
          <a:lstStyle/>
          <a:p>
            <a:pPr marL="285664" indent="-285664">
              <a:buFont typeface="Arial" panose="020B0604020202020204" pitchFamily="34" charset="0"/>
              <a:buChar char="•"/>
            </a:pPr>
            <a:r>
              <a:rPr lang="en-US" b="1" dirty="0"/>
              <a:t>Who: </a:t>
            </a:r>
            <a:r>
              <a:rPr lang="en-US" dirty="0"/>
              <a:t>This deck is built for delivery of a ServiceNow product/capability. The delivery of this deck may be undertaken by Customers, ServiceNow Partners and ServiceNow Expert Services. Assigned Business Process Analysts, Business Process Consultant, Technical Consultants and/or Developers will normally be responsible for its delivery.</a:t>
            </a:r>
          </a:p>
          <a:p>
            <a:pPr marL="285664" indent="-285664">
              <a:buFont typeface="Arial" panose="020B0604020202020204" pitchFamily="34" charset="0"/>
              <a:buChar char="•"/>
            </a:pPr>
            <a:r>
              <a:rPr lang="en-US" b="1" dirty="0"/>
              <a:t>Why: </a:t>
            </a:r>
            <a:r>
              <a:rPr lang="en-US" dirty="0"/>
              <a:t>We want to make it </a:t>
            </a:r>
            <a:r>
              <a:rPr lang="en-US" b="1" dirty="0"/>
              <a:t>easier for you </a:t>
            </a:r>
            <a:r>
              <a:rPr lang="en-US" dirty="0"/>
              <a:t>by spending more time on the implementation and build, not creating workshop materials. The purpose of this presentation is to outline the baseline process explaining the configurable options with the objective of determining the to-be process and corresponding configuration requirements, usually in the form of user stories.</a:t>
            </a:r>
          </a:p>
        </p:txBody>
      </p:sp>
    </p:spTree>
    <p:extLst>
      <p:ext uri="{BB962C8B-B14F-4D97-AF65-F5344CB8AC3E}">
        <p14:creationId xmlns:p14="http://schemas.microsoft.com/office/powerpoint/2010/main" val="189345825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7CF5A-43EF-B37D-17D9-A38F5CFE2A7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D75AFB-C059-92A4-D9C1-A15FCC67756B}"/>
              </a:ext>
            </a:extLst>
          </p:cNvPr>
          <p:cNvSpPr>
            <a:spLocks noGrp="1"/>
          </p:cNvSpPr>
          <p:nvPr>
            <p:ph type="title"/>
          </p:nvPr>
        </p:nvSpPr>
        <p:spPr/>
        <p:txBody>
          <a:bodyPr/>
          <a:lstStyle/>
          <a:p>
            <a:r>
              <a:rPr lang="en-US" dirty="0"/>
              <a:t>Cascade rules for cleaning data</a:t>
            </a:r>
          </a:p>
        </p:txBody>
      </p:sp>
      <p:sp>
        <p:nvSpPr>
          <p:cNvPr id="8" name="Content Placeholder 11">
            <a:extLst>
              <a:ext uri="{FF2B5EF4-FFF2-40B4-BE49-F238E27FC236}">
                <a16:creationId xmlns:a16="http://schemas.microsoft.com/office/drawing/2014/main" id="{5C76B486-B31B-5AD1-8730-CA198865C8E7}"/>
              </a:ext>
            </a:extLst>
          </p:cNvPr>
          <p:cNvSpPr>
            <a:spLocks noGrp="1"/>
          </p:cNvSpPr>
          <p:nvPr>
            <p:ph type="body" sz="quarter" idx="16"/>
          </p:nvPr>
        </p:nvSpPr>
        <p:spPr/>
        <p:txBody>
          <a:bodyPr/>
          <a:lstStyle/>
          <a:p>
            <a:pPr marL="285750" indent="-285750" fontAlgn="base">
              <a:buFont typeface="Arial" panose="020B0604020202020204" pitchFamily="34" charset="0"/>
              <a:buChar char="•"/>
            </a:pPr>
            <a:r>
              <a:rPr lang="en-US" sz="1600" dirty="0">
                <a:ea typeface="+mn-lt"/>
                <a:cs typeface="+mn-lt"/>
              </a:rPr>
              <a:t>Cascade rules determine a thorough cleanup of the outdated data and its related counterparts at source from the system</a:t>
            </a:r>
          </a:p>
        </p:txBody>
      </p:sp>
      <p:graphicFrame>
        <p:nvGraphicFramePr>
          <p:cNvPr id="7" name="Table 6">
            <a:extLst>
              <a:ext uri="{FF2B5EF4-FFF2-40B4-BE49-F238E27FC236}">
                <a16:creationId xmlns:a16="http://schemas.microsoft.com/office/drawing/2014/main" id="{26F18C7C-D602-9FFD-9BAB-81C3BDE6566B}"/>
              </a:ext>
            </a:extLst>
          </p:cNvPr>
          <p:cNvGraphicFramePr>
            <a:graphicFrameLocks noGrp="1"/>
          </p:cNvGraphicFramePr>
          <p:nvPr>
            <p:extLst>
              <p:ext uri="{D42A27DB-BD31-4B8C-83A1-F6EECF244321}">
                <p14:modId xmlns:p14="http://schemas.microsoft.com/office/powerpoint/2010/main" val="2119662490"/>
              </p:ext>
            </p:extLst>
          </p:nvPr>
        </p:nvGraphicFramePr>
        <p:xfrm>
          <a:off x="1321000" y="2684697"/>
          <a:ext cx="9253538" cy="2225040"/>
        </p:xfrm>
        <a:graphic>
          <a:graphicData uri="http://schemas.openxmlformats.org/drawingml/2006/table">
            <a:tbl>
              <a:tblPr firstRow="1" bandRow="1">
                <a:tableStyleId>{9D7B26C5-4107-4FEC-AEDC-1716B250A1EF}</a:tableStyleId>
              </a:tblPr>
              <a:tblGrid>
                <a:gridCol w="3201839">
                  <a:extLst>
                    <a:ext uri="{9D8B030D-6E8A-4147-A177-3AD203B41FA5}">
                      <a16:colId xmlns:a16="http://schemas.microsoft.com/office/drawing/2014/main" val="1822053550"/>
                    </a:ext>
                  </a:extLst>
                </a:gridCol>
                <a:gridCol w="6051699">
                  <a:extLst>
                    <a:ext uri="{9D8B030D-6E8A-4147-A177-3AD203B41FA5}">
                      <a16:colId xmlns:a16="http://schemas.microsoft.com/office/drawing/2014/main" val="3683672080"/>
                    </a:ext>
                  </a:extLst>
                </a:gridCol>
              </a:tblGrid>
              <a:tr h="370840">
                <a:tc>
                  <a:txBody>
                    <a:bodyPr/>
                    <a:lstStyle/>
                    <a:p>
                      <a:pPr algn="l" fontAlgn="t">
                        <a:buNone/>
                      </a:pPr>
                      <a:r>
                        <a:rPr lang="en-US" sz="1400" b="1" u="none" strike="noStrike" dirty="0">
                          <a:solidFill>
                            <a:srgbClr val="63DF4E"/>
                          </a:solidFill>
                          <a:effectLst/>
                        </a:rPr>
                        <a:t>Scenario</a:t>
                      </a:r>
                      <a:endParaRPr lang="en-US" sz="1400" b="1" i="0" u="none" strike="noStrike" dirty="0">
                        <a:solidFill>
                          <a:srgbClr val="63DF4E"/>
                        </a:solidFill>
                        <a:effectLst/>
                        <a:latin typeface="+mn-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t">
                        <a:buNone/>
                      </a:pPr>
                      <a:r>
                        <a:rPr lang="en-US" sz="1400" b="1" u="none" strike="noStrike" dirty="0">
                          <a:solidFill>
                            <a:srgbClr val="63DF4E"/>
                          </a:solidFill>
                          <a:effectLst/>
                        </a:rPr>
                        <a:t>Outcome</a:t>
                      </a:r>
                      <a:endParaRPr lang="en-US" sz="1400" b="1" i="0" u="none" strike="noStrike" dirty="0">
                        <a:solidFill>
                          <a:srgbClr val="63DF4E"/>
                        </a:solidFill>
                        <a:effectLst/>
                        <a:latin typeface="+mn-lt"/>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00890757"/>
                  </a:ext>
                </a:extLst>
              </a:tr>
              <a:tr h="370840">
                <a:tc>
                  <a:txBody>
                    <a:bodyPr/>
                    <a:lstStyle/>
                    <a:p>
                      <a:pPr algn="l" fontAlgn="b">
                        <a:buNone/>
                      </a:pPr>
                      <a:r>
                        <a:rPr lang="en-US" sz="1100" b="0" u="none" strike="noStrike" dirty="0">
                          <a:solidFill>
                            <a:schemeClr val="bg1"/>
                          </a:solidFill>
                          <a:effectLst/>
                        </a:rPr>
                        <a:t>A job requisition is deleted.	</a:t>
                      </a:r>
                      <a:endParaRPr lang="en-US" sz="1100" b="0" i="0" u="none" strike="noStrike" dirty="0">
                        <a:solidFill>
                          <a:schemeClr val="bg1"/>
                        </a:solidFill>
                        <a:effectLst/>
                        <a:latin typeface="+mn-lt"/>
                      </a:endParaRPr>
                    </a:p>
                  </a:txBody>
                  <a:tcPr marL="9525" marR="9525" marT="9525" marB="0" anchor="b">
                    <a:lnL>
                      <a:noFill/>
                    </a:lnL>
                    <a:lnR>
                      <a:noFill/>
                    </a:lnR>
                    <a:lnT w="12700" cmpd="sng">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ll the job applications for that job requisition are deleted.</a:t>
                      </a:r>
                      <a:endParaRPr lang="en-US" sz="1100" b="0" i="0" u="none" strike="noStrike" dirty="0">
                        <a:solidFill>
                          <a:schemeClr val="bg1"/>
                        </a:solidFill>
                        <a:effectLst/>
                        <a:latin typeface="+mn-lt"/>
                      </a:endParaRPr>
                    </a:p>
                  </a:txBody>
                  <a:tcPr marL="9525" marR="9525" marT="9525" marB="0" anchor="b">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85736231"/>
                  </a:ext>
                </a:extLst>
              </a:tr>
              <a:tr h="370840">
                <a:tc>
                  <a:txBody>
                    <a:bodyPr/>
                    <a:lstStyle/>
                    <a:p>
                      <a:pPr algn="l" fontAlgn="b">
                        <a:buNone/>
                      </a:pPr>
                      <a:r>
                        <a:rPr lang="en-US" sz="1100" b="0" u="none" strike="noStrike" dirty="0">
                          <a:solidFill>
                            <a:schemeClr val="bg1"/>
                          </a:solidFill>
                          <a:effectLst/>
                        </a:rPr>
                        <a:t>A job requisition is deleted.	</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ll the job postings for that job requisition are deleted.</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95513391"/>
                  </a:ext>
                </a:extLst>
              </a:tr>
              <a:tr h="370840">
                <a:tc>
                  <a:txBody>
                    <a:bodyPr/>
                    <a:lstStyle/>
                    <a:p>
                      <a:pPr algn="l" fontAlgn="b">
                        <a:buNone/>
                      </a:pPr>
                      <a:r>
                        <a:rPr lang="en-US" sz="1100" b="0" u="none" strike="noStrike" dirty="0">
                          <a:solidFill>
                            <a:schemeClr val="bg1"/>
                          </a:solidFill>
                          <a:effectLst/>
                        </a:rPr>
                        <a:t>A job requisition is deleted.	</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ll the associated records within the hiring team for that job requisition are deleted.</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11984101"/>
                  </a:ext>
                </a:extLst>
              </a:tr>
              <a:tr h="370840">
                <a:tc>
                  <a:txBody>
                    <a:bodyPr/>
                    <a:lstStyle/>
                    <a:p>
                      <a:pPr algn="l" fontAlgn="b">
                        <a:buNone/>
                      </a:pPr>
                      <a:r>
                        <a:rPr lang="en-US" sz="1100" b="0" u="none" strike="noStrike" dirty="0">
                          <a:solidFill>
                            <a:schemeClr val="bg1"/>
                          </a:solidFill>
                          <a:effectLst/>
                        </a:rPr>
                        <a:t>A job requisition is deleted.	</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ll extracted skills associated with the job application are deleted.</a:t>
                      </a:r>
                      <a:endParaRPr lang="en-US" sz="1100" b="0" i="0" u="none" strike="noStrike" dirty="0">
                        <a:solidFill>
                          <a:schemeClr val="bg1"/>
                        </a:solidFill>
                        <a:effectLst/>
                        <a:latin typeface="+mn-lt"/>
                      </a:endParaRPr>
                    </a:p>
                  </a:txBody>
                  <a:tcPr marL="9525" marR="9525" marT="952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49910221"/>
                  </a:ext>
                </a:extLst>
              </a:tr>
              <a:tr h="370840">
                <a:tc>
                  <a:txBody>
                    <a:bodyPr/>
                    <a:lstStyle/>
                    <a:p>
                      <a:pPr algn="l" fontAlgn="b">
                        <a:buNone/>
                      </a:pPr>
                      <a:r>
                        <a:rPr lang="en-US" sz="1100" b="0" u="none" strike="noStrike" dirty="0">
                          <a:solidFill>
                            <a:schemeClr val="bg1"/>
                          </a:solidFill>
                          <a:effectLst/>
                        </a:rPr>
                        <a:t>A job requisition is deleted.	</a:t>
                      </a:r>
                      <a:endParaRPr lang="en-US" sz="1100" b="0" i="0" u="none" strike="noStrike" dirty="0">
                        <a:solidFill>
                          <a:schemeClr val="bg1"/>
                        </a:solidFill>
                        <a:effectLst/>
                        <a:latin typeface="+mn-lt"/>
                      </a:endParaRPr>
                    </a:p>
                  </a:txBody>
                  <a:tcPr marL="9525" marR="9525" marT="9525" marB="0" anchor="b">
                    <a:lnL>
                      <a:noFill/>
                    </a:lnL>
                    <a:lnR>
                      <a:noFill/>
                    </a:lnR>
                    <a:lnT>
                      <a:noFill/>
                    </a:lnT>
                    <a:lnB w="12700" cmpd="sng">
                      <a:noFill/>
                    </a:lnB>
                    <a:lnTlToBr w="12700" cmpd="sng">
                      <a:noFill/>
                      <a:prstDash val="solid"/>
                    </a:lnTlToBr>
                    <a:lnBlToTr w="12700" cmpd="sng">
                      <a:noFill/>
                      <a:prstDash val="solid"/>
                    </a:lnBlToTr>
                  </a:tcPr>
                </a:tc>
                <a:tc>
                  <a:txBody>
                    <a:bodyPr/>
                    <a:lstStyle/>
                    <a:p>
                      <a:pPr algn="l" fontAlgn="b">
                        <a:buNone/>
                      </a:pPr>
                      <a:r>
                        <a:rPr lang="en-US" sz="1100" b="0" u="none" strike="noStrike" dirty="0">
                          <a:solidFill>
                            <a:schemeClr val="bg1"/>
                          </a:solidFill>
                          <a:effectLst/>
                        </a:rPr>
                        <a:t>All the details from the applicant profile are deleted.</a:t>
                      </a:r>
                      <a:endParaRPr lang="en-US" sz="1100" b="0" i="0" u="none" strike="noStrike" dirty="0">
                        <a:solidFill>
                          <a:schemeClr val="bg1"/>
                        </a:solidFill>
                        <a:effectLst/>
                        <a:latin typeface="+mn-lt"/>
                      </a:endParaRPr>
                    </a:p>
                  </a:txBody>
                  <a:tcPr marL="9525" marR="9525" marT="9525" marB="0" anchor="b">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72166594"/>
                  </a:ext>
                </a:extLst>
              </a:tr>
            </a:tbl>
          </a:graphicData>
        </a:graphic>
      </p:graphicFrame>
      <p:sp>
        <p:nvSpPr>
          <p:cNvPr id="2" name="Rounded Rectangle 4">
            <a:extLst>
              <a:ext uri="{FF2B5EF4-FFF2-40B4-BE49-F238E27FC236}">
                <a16:creationId xmlns:a16="http://schemas.microsoft.com/office/drawing/2014/main" id="{63B4D7FD-A6F2-81BF-6FE5-DFCB6BDF4DBB}"/>
              </a:ext>
              <a:ext uri="{C183D7F6-B498-43B3-948B-1728B52AA6E4}">
                <adec:decorative xmlns:adec="http://schemas.microsoft.com/office/drawing/2017/decorative" val="1"/>
              </a:ext>
            </a:extLst>
          </p:cNvPr>
          <p:cNvSpPr/>
          <p:nvPr/>
        </p:nvSpPr>
        <p:spPr>
          <a:xfrm>
            <a:off x="1226915" y="2684697"/>
            <a:ext cx="9433369" cy="2350290"/>
          </a:xfrm>
          <a:prstGeom prst="roundRect">
            <a:avLst>
              <a:gd name="adj" fmla="val 547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Tree>
    <p:extLst>
      <p:ext uri="{BB962C8B-B14F-4D97-AF65-F5344CB8AC3E}">
        <p14:creationId xmlns:p14="http://schemas.microsoft.com/office/powerpoint/2010/main" val="29257483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AE86E-4C26-5EFA-EF20-6CEFF1F07D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814E6E-4083-45D3-2F53-F0409388A164}"/>
              </a:ext>
            </a:extLst>
          </p:cNvPr>
          <p:cNvSpPr>
            <a:spLocks noGrp="1"/>
          </p:cNvSpPr>
          <p:nvPr>
            <p:ph type="title"/>
          </p:nvPr>
        </p:nvSpPr>
        <p:spPr>
          <a:xfrm>
            <a:off x="548640" y="553413"/>
            <a:ext cx="11089323" cy="4287420"/>
          </a:xfrm>
        </p:spPr>
        <p:txBody>
          <a:bodyPr/>
          <a:lstStyle/>
          <a:p>
            <a:r>
              <a:rPr lang="en-US" dirty="0">
                <a:solidFill>
                  <a:schemeClr val="accent1"/>
                </a:solidFill>
              </a:rPr>
              <a:t>Manager Hub</a:t>
            </a:r>
            <a:endParaRPr lang="en-US" dirty="0"/>
          </a:p>
        </p:txBody>
      </p:sp>
      <p:sp>
        <p:nvSpPr>
          <p:cNvPr id="3" name="Subtitle 2">
            <a:extLst>
              <a:ext uri="{FF2B5EF4-FFF2-40B4-BE49-F238E27FC236}">
                <a16:creationId xmlns:a16="http://schemas.microsoft.com/office/drawing/2014/main" id="{C9273244-1F1E-D229-7B80-D0F1FF8007C4}"/>
              </a:ext>
            </a:extLst>
          </p:cNvPr>
          <p:cNvSpPr>
            <a:spLocks noGrp="1"/>
          </p:cNvSpPr>
          <p:nvPr>
            <p:ph type="subTitle" idx="1"/>
          </p:nvPr>
        </p:nvSpPr>
        <p:spPr>
          <a:xfrm>
            <a:off x="549275" y="5137943"/>
            <a:ext cx="6386513" cy="899658"/>
          </a:xfrm>
        </p:spPr>
        <p:txBody>
          <a:bodyPr/>
          <a:lstStyle/>
          <a:p>
            <a:r>
              <a:rPr lang="en-US" dirty="0"/>
              <a:t>Hiring tab</a:t>
            </a:r>
          </a:p>
        </p:txBody>
      </p:sp>
    </p:spTree>
    <p:extLst>
      <p:ext uri="{BB962C8B-B14F-4D97-AF65-F5344CB8AC3E}">
        <p14:creationId xmlns:p14="http://schemas.microsoft.com/office/powerpoint/2010/main" val="2871409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3343B-EF2C-6476-E8D6-0B160AD7ED3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1148014-7DDD-4636-5AF3-8BB4C1B6704F}"/>
              </a:ext>
            </a:extLst>
          </p:cNvPr>
          <p:cNvSpPr>
            <a:spLocks noGrp="1"/>
          </p:cNvSpPr>
          <p:nvPr>
            <p:ph type="title"/>
          </p:nvPr>
        </p:nvSpPr>
        <p:spPr>
          <a:xfrm>
            <a:off x="548640" y="530352"/>
            <a:ext cx="11082973" cy="594360"/>
          </a:xfrm>
        </p:spPr>
        <p:txBody>
          <a:bodyPr/>
          <a:lstStyle/>
          <a:p>
            <a:r>
              <a:rPr lang="en-US" dirty="0"/>
              <a:t>Hiring tab</a:t>
            </a:r>
          </a:p>
        </p:txBody>
      </p:sp>
      <p:sp>
        <p:nvSpPr>
          <p:cNvPr id="12" name="Content Placeholder 11">
            <a:extLst>
              <a:ext uri="{FF2B5EF4-FFF2-40B4-BE49-F238E27FC236}">
                <a16:creationId xmlns:a16="http://schemas.microsoft.com/office/drawing/2014/main" id="{99AF021D-0EE2-B719-52EB-C55DFFCD32DA}"/>
              </a:ext>
            </a:extLst>
          </p:cNvPr>
          <p:cNvSpPr>
            <a:spLocks noGrp="1"/>
          </p:cNvSpPr>
          <p:nvPr>
            <p:ph type="body" sz="quarter" idx="16"/>
          </p:nvPr>
        </p:nvSpPr>
        <p:spPr>
          <a:xfrm>
            <a:off x="544831" y="1955800"/>
            <a:ext cx="3171764" cy="4270248"/>
          </a:xfrm>
        </p:spPr>
        <p:txBody>
          <a:bodyPr/>
          <a:lstStyle/>
          <a:p>
            <a:pPr>
              <a:buNone/>
            </a:pPr>
            <a:r>
              <a:rPr lang="en-US" dirty="0"/>
              <a:t>Hiring managers can:</a:t>
            </a:r>
          </a:p>
          <a:p>
            <a:pPr marL="285750" indent="-285750">
              <a:buFont typeface="Arial" panose="020B0604020202020204" pitchFamily="34" charset="0"/>
              <a:buChar char="•"/>
            </a:pPr>
            <a:r>
              <a:rPr lang="en-US" dirty="0"/>
              <a:t>View lists of their open and closed requisitions</a:t>
            </a:r>
          </a:p>
          <a:p>
            <a:pPr marL="285750" indent="-285750">
              <a:buFont typeface="Arial" panose="020B0604020202020204" pitchFamily="34" charset="0"/>
              <a:buChar char="•"/>
            </a:pPr>
            <a:r>
              <a:rPr lang="en-US" dirty="0"/>
              <a:t>Request new job openings</a:t>
            </a:r>
          </a:p>
          <a:p>
            <a:pPr marL="285750" indent="-285750">
              <a:buFont typeface="Arial" panose="020B0604020202020204" pitchFamily="34" charset="0"/>
              <a:buChar char="•"/>
            </a:pPr>
            <a:r>
              <a:rPr lang="en-US" dirty="0"/>
              <a:t>View recommended resources and knowledge base articles</a:t>
            </a:r>
          </a:p>
        </p:txBody>
      </p:sp>
      <p:pic>
        <p:nvPicPr>
          <p:cNvPr id="6" name="Picture 5">
            <a:extLst>
              <a:ext uri="{FF2B5EF4-FFF2-40B4-BE49-F238E27FC236}">
                <a16:creationId xmlns:a16="http://schemas.microsoft.com/office/drawing/2014/main" id="{985FED66-8A96-02D2-FC41-9749704AA6AE}"/>
              </a:ext>
            </a:extLst>
          </p:cNvPr>
          <p:cNvPicPr>
            <a:picLocks noChangeAspect="1"/>
          </p:cNvPicPr>
          <p:nvPr/>
        </p:nvPicPr>
        <p:blipFill>
          <a:blip r:embed="rId2"/>
          <a:stretch>
            <a:fillRect/>
          </a:stretch>
        </p:blipFill>
        <p:spPr>
          <a:xfrm>
            <a:off x="4417929" y="1124712"/>
            <a:ext cx="7213684" cy="4968365"/>
          </a:xfrm>
          <a:prstGeom prst="rect">
            <a:avLst/>
          </a:prstGeom>
        </p:spPr>
      </p:pic>
      <p:sp>
        <p:nvSpPr>
          <p:cNvPr id="2" name="Text Placeholder 8">
            <a:extLst>
              <a:ext uri="{FF2B5EF4-FFF2-40B4-BE49-F238E27FC236}">
                <a16:creationId xmlns:a16="http://schemas.microsoft.com/office/drawing/2014/main" id="{BC2EEB71-711B-57CE-5CB2-5396E89264D5}"/>
              </a:ext>
            </a:extLst>
          </p:cNvPr>
          <p:cNvSpPr>
            <a:spLocks noGrp="1"/>
          </p:cNvSpPr>
          <p:nvPr>
            <p:ph type="subTitle" idx="13"/>
          </p:nvPr>
        </p:nvSpPr>
        <p:spPr>
          <a:xfrm>
            <a:off x="548640" y="1097280"/>
            <a:ext cx="11088688" cy="696849"/>
          </a:xfrm>
        </p:spPr>
        <p:txBody>
          <a:bodyPr/>
          <a:lstStyle/>
          <a:p>
            <a:r>
              <a:rPr lang="en-US" dirty="0"/>
              <a:t>Manager Hub</a:t>
            </a:r>
          </a:p>
        </p:txBody>
      </p:sp>
    </p:spTree>
    <p:extLst>
      <p:ext uri="{BB962C8B-B14F-4D97-AF65-F5344CB8AC3E}">
        <p14:creationId xmlns:p14="http://schemas.microsoft.com/office/powerpoint/2010/main" val="372759822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8BC11-0EE1-AA32-1615-563874A9ED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4B4A6B-AFA1-A6EF-A624-878D990850D1}"/>
              </a:ext>
            </a:extLst>
          </p:cNvPr>
          <p:cNvSpPr>
            <a:spLocks noGrp="1"/>
          </p:cNvSpPr>
          <p:nvPr>
            <p:ph type="title"/>
          </p:nvPr>
        </p:nvSpPr>
        <p:spPr>
          <a:xfrm>
            <a:off x="548640" y="553413"/>
            <a:ext cx="11089323" cy="4287420"/>
          </a:xfrm>
        </p:spPr>
        <p:txBody>
          <a:bodyPr/>
          <a:lstStyle/>
          <a:p>
            <a:r>
              <a:rPr lang="en-US" dirty="0">
                <a:solidFill>
                  <a:schemeClr val="accent1"/>
                </a:solidFill>
              </a:rPr>
              <a:t>Talent Profile</a:t>
            </a:r>
            <a:endParaRPr lang="en-US" dirty="0"/>
          </a:p>
        </p:txBody>
      </p:sp>
    </p:spTree>
    <p:extLst>
      <p:ext uri="{BB962C8B-B14F-4D97-AF65-F5344CB8AC3E}">
        <p14:creationId xmlns:p14="http://schemas.microsoft.com/office/powerpoint/2010/main" val="27048598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57236-08A3-4724-A8FF-6CDF94335A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A2AAC3E-29D0-55AA-7FE5-624DD8DDD7C7}"/>
              </a:ext>
            </a:extLst>
          </p:cNvPr>
          <p:cNvSpPr>
            <a:spLocks noGrp="1"/>
          </p:cNvSpPr>
          <p:nvPr>
            <p:ph type="title"/>
          </p:nvPr>
        </p:nvSpPr>
        <p:spPr/>
        <p:txBody>
          <a:bodyPr/>
          <a:lstStyle/>
          <a:p>
            <a:r>
              <a:rPr lang="en-US" dirty="0"/>
              <a:t>Talent profile overview</a:t>
            </a:r>
          </a:p>
        </p:txBody>
      </p:sp>
      <p:sp>
        <p:nvSpPr>
          <p:cNvPr id="12" name="Content Placeholder 11">
            <a:extLst>
              <a:ext uri="{FF2B5EF4-FFF2-40B4-BE49-F238E27FC236}">
                <a16:creationId xmlns:a16="http://schemas.microsoft.com/office/drawing/2014/main" id="{FEB356A4-A69B-86D4-DF1D-8C1C8DB84DDA}"/>
              </a:ext>
            </a:extLst>
          </p:cNvPr>
          <p:cNvSpPr>
            <a:spLocks noGrp="1"/>
          </p:cNvSpPr>
          <p:nvPr>
            <p:ph type="body" sz="quarter" idx="16"/>
          </p:nvPr>
        </p:nvSpPr>
        <p:spPr/>
        <p:txBody>
          <a:bodyPr/>
          <a:lstStyle/>
          <a:p>
            <a:r>
              <a:rPr lang="en-US" dirty="0"/>
              <a:t>Recruiters create and manage talent profiles and pools to have a unified view of talent, track past interactions, and make informed sourcing, screening, and interview management decisions with hiring managers.</a:t>
            </a:r>
          </a:p>
        </p:txBody>
      </p:sp>
      <p:pic>
        <p:nvPicPr>
          <p:cNvPr id="2" name="Picture 1">
            <a:extLst>
              <a:ext uri="{FF2B5EF4-FFF2-40B4-BE49-F238E27FC236}">
                <a16:creationId xmlns:a16="http://schemas.microsoft.com/office/drawing/2014/main" id="{672E418E-2879-2DC8-7AD3-5BC5E07C3780}"/>
              </a:ext>
            </a:extLst>
          </p:cNvPr>
          <p:cNvPicPr>
            <a:picLocks noChangeAspect="1"/>
          </p:cNvPicPr>
          <p:nvPr/>
        </p:nvPicPr>
        <p:blipFill>
          <a:blip r:embed="rId2"/>
          <a:stretch>
            <a:fillRect/>
          </a:stretch>
        </p:blipFill>
        <p:spPr>
          <a:xfrm>
            <a:off x="1697356" y="2855583"/>
            <a:ext cx="8783635" cy="3472065"/>
          </a:xfrm>
          <a:prstGeom prst="rect">
            <a:avLst/>
          </a:prstGeom>
        </p:spPr>
      </p:pic>
    </p:spTree>
    <p:extLst>
      <p:ext uri="{BB962C8B-B14F-4D97-AF65-F5344CB8AC3E}">
        <p14:creationId xmlns:p14="http://schemas.microsoft.com/office/powerpoint/2010/main" val="364936282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90413-3735-5783-FD64-5DB5C3D9381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AF04F57-0FBB-D582-C103-97CBF77597F0}"/>
              </a:ext>
            </a:extLst>
          </p:cNvPr>
          <p:cNvSpPr>
            <a:spLocks noGrp="1"/>
          </p:cNvSpPr>
          <p:nvPr>
            <p:ph type="title"/>
          </p:nvPr>
        </p:nvSpPr>
        <p:spPr>
          <a:xfrm>
            <a:off x="548640" y="530352"/>
            <a:ext cx="11082973" cy="594360"/>
          </a:xfrm>
        </p:spPr>
        <p:txBody>
          <a:bodyPr/>
          <a:lstStyle/>
          <a:p>
            <a:r>
              <a:rPr lang="en-US" dirty="0"/>
              <a:t>Talent profile definitions</a:t>
            </a:r>
          </a:p>
        </p:txBody>
      </p:sp>
      <p:sp>
        <p:nvSpPr>
          <p:cNvPr id="12" name="Content Placeholder 11">
            <a:extLst>
              <a:ext uri="{FF2B5EF4-FFF2-40B4-BE49-F238E27FC236}">
                <a16:creationId xmlns:a16="http://schemas.microsoft.com/office/drawing/2014/main" id="{79B61A5A-9203-A6F6-C7C8-508FCD57D1DA}"/>
              </a:ext>
            </a:extLst>
          </p:cNvPr>
          <p:cNvSpPr>
            <a:spLocks noGrp="1"/>
          </p:cNvSpPr>
          <p:nvPr>
            <p:ph type="body" sz="quarter" idx="16"/>
          </p:nvPr>
        </p:nvSpPr>
        <p:spPr>
          <a:xfrm>
            <a:off x="544830" y="1955800"/>
            <a:ext cx="3395799" cy="4270248"/>
          </a:xfrm>
        </p:spPr>
        <p:txBody>
          <a:bodyPr/>
          <a:lstStyle/>
          <a:p>
            <a:r>
              <a:rPr lang="en-US" dirty="0"/>
              <a:t>Create talent profile definitions for various types of talent to generate comprehensive talent profiles.</a:t>
            </a:r>
          </a:p>
          <a:p>
            <a:endParaRPr lang="en-US" dirty="0"/>
          </a:p>
          <a:p>
            <a:r>
              <a:rPr lang="en-US" dirty="0"/>
              <a:t>Talent types:</a:t>
            </a:r>
          </a:p>
          <a:p>
            <a:pPr marL="285750" indent="-285750">
              <a:buFont typeface="Arial" panose="020B0604020202020204" pitchFamily="34" charset="0"/>
              <a:buChar char="•"/>
            </a:pPr>
            <a:r>
              <a:rPr lang="en-US" dirty="0"/>
              <a:t>External</a:t>
            </a:r>
          </a:p>
          <a:p>
            <a:pPr marL="285750" indent="-285750">
              <a:buFont typeface="Arial" panose="020B0604020202020204" pitchFamily="34" charset="0"/>
              <a:buChar char="•"/>
            </a:pPr>
            <a:r>
              <a:rPr lang="en-US" dirty="0"/>
              <a:t>Employee</a:t>
            </a:r>
          </a:p>
          <a:p>
            <a:pPr marL="285750" indent="-285750">
              <a:buFont typeface="Arial" panose="020B0604020202020204" pitchFamily="34" charset="0"/>
              <a:buChar char="•"/>
            </a:pPr>
            <a:r>
              <a:rPr lang="en-US" dirty="0"/>
              <a:t>Alumni</a:t>
            </a:r>
          </a:p>
          <a:p>
            <a:pPr marL="285750" indent="-285750">
              <a:buFont typeface="Arial" panose="020B0604020202020204" pitchFamily="34" charset="0"/>
              <a:buChar char="•"/>
            </a:pPr>
            <a:r>
              <a:rPr lang="en-US" dirty="0"/>
              <a:t>Contingent</a:t>
            </a:r>
          </a:p>
          <a:p>
            <a:endParaRPr lang="en-US" dirty="0"/>
          </a:p>
          <a:p>
            <a:endParaRPr lang="en-US" dirty="0"/>
          </a:p>
        </p:txBody>
      </p:sp>
      <p:pic>
        <p:nvPicPr>
          <p:cNvPr id="3" name="Picture 2">
            <a:extLst>
              <a:ext uri="{FF2B5EF4-FFF2-40B4-BE49-F238E27FC236}">
                <a16:creationId xmlns:a16="http://schemas.microsoft.com/office/drawing/2014/main" id="{2CF68558-CE8D-AC59-4BC9-23081B658117}"/>
              </a:ext>
            </a:extLst>
          </p:cNvPr>
          <p:cNvPicPr>
            <a:picLocks noChangeAspect="1"/>
          </p:cNvPicPr>
          <p:nvPr/>
        </p:nvPicPr>
        <p:blipFill>
          <a:blip r:embed="rId3"/>
          <a:stretch>
            <a:fillRect/>
          </a:stretch>
        </p:blipFill>
        <p:spPr>
          <a:xfrm>
            <a:off x="4109584" y="1955800"/>
            <a:ext cx="7609192" cy="2095500"/>
          </a:xfrm>
          <a:prstGeom prst="rect">
            <a:avLst/>
          </a:prstGeom>
        </p:spPr>
      </p:pic>
    </p:spTree>
    <p:extLst>
      <p:ext uri="{BB962C8B-B14F-4D97-AF65-F5344CB8AC3E}">
        <p14:creationId xmlns:p14="http://schemas.microsoft.com/office/powerpoint/2010/main" val="26271586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069DA-B983-499C-7E1C-7E5C7BFCE31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A7FCE41-635A-C0E6-414B-A5EB4FE29F94}"/>
              </a:ext>
            </a:extLst>
          </p:cNvPr>
          <p:cNvSpPr>
            <a:spLocks noGrp="1"/>
          </p:cNvSpPr>
          <p:nvPr>
            <p:ph type="title"/>
          </p:nvPr>
        </p:nvSpPr>
        <p:spPr>
          <a:xfrm>
            <a:off x="548640" y="530352"/>
            <a:ext cx="11082973" cy="594360"/>
          </a:xfrm>
        </p:spPr>
        <p:txBody>
          <a:bodyPr/>
          <a:lstStyle/>
          <a:p>
            <a:r>
              <a:rPr lang="en-US" dirty="0"/>
              <a:t>Talent profiles</a:t>
            </a:r>
          </a:p>
        </p:txBody>
      </p:sp>
      <p:sp>
        <p:nvSpPr>
          <p:cNvPr id="12" name="Content Placeholder 11">
            <a:extLst>
              <a:ext uri="{FF2B5EF4-FFF2-40B4-BE49-F238E27FC236}">
                <a16:creationId xmlns:a16="http://schemas.microsoft.com/office/drawing/2014/main" id="{F784BCC4-516C-72A4-9BBC-80AA1CB12E1D}"/>
              </a:ext>
            </a:extLst>
          </p:cNvPr>
          <p:cNvSpPr>
            <a:spLocks noGrp="1"/>
          </p:cNvSpPr>
          <p:nvPr>
            <p:ph type="body" sz="quarter" idx="16"/>
          </p:nvPr>
        </p:nvSpPr>
        <p:spPr>
          <a:xfrm>
            <a:off x="544831" y="1955800"/>
            <a:ext cx="2985446" cy="4270248"/>
          </a:xfrm>
        </p:spPr>
        <p:txBody>
          <a:bodyPr/>
          <a:lstStyle/>
          <a:p>
            <a:r>
              <a:rPr lang="en-US" dirty="0"/>
              <a:t>Create talent profiles to add to the talent profile repository for your organization. Talent profiles help optimize hiring processes.</a:t>
            </a:r>
          </a:p>
          <a:p>
            <a:endParaRPr lang="en-US" dirty="0"/>
          </a:p>
          <a:p>
            <a:r>
              <a:rPr lang="en-US" dirty="0"/>
              <a:t>Talent profiles can be automatically generated from the talent profile definition.</a:t>
            </a:r>
          </a:p>
          <a:p>
            <a:endParaRPr lang="en-US" dirty="0"/>
          </a:p>
          <a:p>
            <a:pPr>
              <a:buNone/>
            </a:pPr>
            <a:endParaRPr lang="en-US" dirty="0"/>
          </a:p>
        </p:txBody>
      </p:sp>
      <p:pic>
        <p:nvPicPr>
          <p:cNvPr id="2" name="Picture 1">
            <a:extLst>
              <a:ext uri="{FF2B5EF4-FFF2-40B4-BE49-F238E27FC236}">
                <a16:creationId xmlns:a16="http://schemas.microsoft.com/office/drawing/2014/main" id="{62075B16-A91B-67E5-4DA5-389DEE964233}"/>
              </a:ext>
            </a:extLst>
          </p:cNvPr>
          <p:cNvPicPr>
            <a:picLocks noChangeAspect="1"/>
          </p:cNvPicPr>
          <p:nvPr/>
        </p:nvPicPr>
        <p:blipFill>
          <a:blip r:embed="rId2"/>
          <a:stretch>
            <a:fillRect/>
          </a:stretch>
        </p:blipFill>
        <p:spPr>
          <a:xfrm>
            <a:off x="3982262" y="1955800"/>
            <a:ext cx="7772400" cy="2140446"/>
          </a:xfrm>
          <a:prstGeom prst="rect">
            <a:avLst/>
          </a:prstGeom>
        </p:spPr>
      </p:pic>
      <p:sp>
        <p:nvSpPr>
          <p:cNvPr id="3" name="Rectangle 2">
            <a:extLst>
              <a:ext uri="{FF2B5EF4-FFF2-40B4-BE49-F238E27FC236}">
                <a16:creationId xmlns:a16="http://schemas.microsoft.com/office/drawing/2014/main" id="{3DCB61C3-086B-74BB-FA3A-2CA90C001F63}"/>
              </a:ext>
            </a:extLst>
          </p:cNvPr>
          <p:cNvSpPr/>
          <p:nvPr/>
        </p:nvSpPr>
        <p:spPr>
          <a:xfrm>
            <a:off x="9963735" y="2231582"/>
            <a:ext cx="1338942" cy="39363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2798717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BF8C6-723A-565A-AE79-AE37FFD3FB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28C152-13F8-7DD1-BDF7-24192B0377A2}"/>
              </a:ext>
            </a:extLst>
          </p:cNvPr>
          <p:cNvSpPr>
            <a:spLocks noGrp="1"/>
          </p:cNvSpPr>
          <p:nvPr>
            <p:ph type="title"/>
          </p:nvPr>
        </p:nvSpPr>
        <p:spPr>
          <a:xfrm>
            <a:off x="548640" y="553413"/>
            <a:ext cx="11089323" cy="4287420"/>
          </a:xfrm>
        </p:spPr>
        <p:txBody>
          <a:bodyPr/>
          <a:lstStyle/>
          <a:p>
            <a:r>
              <a:rPr lang="en-US" dirty="0">
                <a:solidFill>
                  <a:schemeClr val="accent1"/>
                </a:solidFill>
              </a:rPr>
              <a:t>Job Requisition Management</a:t>
            </a:r>
            <a:endParaRPr lang="en-US" dirty="0"/>
          </a:p>
        </p:txBody>
      </p:sp>
    </p:spTree>
    <p:extLst>
      <p:ext uri="{BB962C8B-B14F-4D97-AF65-F5344CB8AC3E}">
        <p14:creationId xmlns:p14="http://schemas.microsoft.com/office/powerpoint/2010/main" val="4332991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035C1-4D7A-B5E3-489A-1F314EAF1F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2AD0B8-D610-8B84-1538-0D6AA84532CB}"/>
              </a:ext>
            </a:extLst>
          </p:cNvPr>
          <p:cNvSpPr>
            <a:spLocks noGrp="1"/>
          </p:cNvSpPr>
          <p:nvPr>
            <p:ph type="title"/>
          </p:nvPr>
        </p:nvSpPr>
        <p:spPr>
          <a:xfrm>
            <a:off x="548640" y="530352"/>
            <a:ext cx="11082973" cy="594360"/>
          </a:xfrm>
        </p:spPr>
        <p:txBody>
          <a:bodyPr/>
          <a:lstStyle/>
          <a:p>
            <a:r>
              <a:rPr lang="en-US" dirty="0"/>
              <a:t>Job requisition process</a:t>
            </a:r>
          </a:p>
        </p:txBody>
      </p:sp>
      <p:grpSp>
        <p:nvGrpSpPr>
          <p:cNvPr id="17" name="Group 16">
            <a:extLst>
              <a:ext uri="{FF2B5EF4-FFF2-40B4-BE49-F238E27FC236}">
                <a16:creationId xmlns:a16="http://schemas.microsoft.com/office/drawing/2014/main" id="{2B9FD07E-3C8E-A9F9-5B52-25CB711D9017}"/>
              </a:ext>
            </a:extLst>
          </p:cNvPr>
          <p:cNvGrpSpPr/>
          <p:nvPr/>
        </p:nvGrpSpPr>
        <p:grpSpPr>
          <a:xfrm>
            <a:off x="323514" y="1051195"/>
            <a:ext cx="11533222" cy="5417256"/>
            <a:chOff x="323514" y="1051195"/>
            <a:chExt cx="11533222" cy="5417256"/>
          </a:xfrm>
        </p:grpSpPr>
        <p:sp>
          <p:nvSpPr>
            <p:cNvPr id="5" name="Right Arrow 4">
              <a:extLst>
                <a:ext uri="{FF2B5EF4-FFF2-40B4-BE49-F238E27FC236}">
                  <a16:creationId xmlns:a16="http://schemas.microsoft.com/office/drawing/2014/main" id="{610B8C24-45B8-214C-BE44-7428AB4FA2BD}"/>
                </a:ext>
              </a:extLst>
            </p:cNvPr>
            <p:cNvSpPr/>
            <p:nvPr/>
          </p:nvSpPr>
          <p:spPr>
            <a:xfrm>
              <a:off x="1186112" y="1051195"/>
              <a:ext cx="9808027" cy="5417256"/>
            </a:xfrm>
            <a:prstGeom prst="rightArrow">
              <a:avLst/>
            </a:prstGeom>
            <a:solidFill>
              <a:schemeClr val="bg1"/>
            </a:solidFill>
          </p:spPr>
          <p:style>
            <a:lnRef idx="0">
              <a:schemeClr val="dk1">
                <a:hueOff val="0"/>
                <a:satOff val="0"/>
                <a:lumOff val="0"/>
                <a:alphaOff val="0"/>
              </a:schemeClr>
            </a:lnRef>
            <a:fillRef idx="1">
              <a:schemeClr val="accent4">
                <a:tint val="40000"/>
                <a:hueOff val="0"/>
                <a:satOff val="0"/>
                <a:lumOff val="0"/>
                <a:alphaOff val="0"/>
              </a:schemeClr>
            </a:fillRef>
            <a:effectRef idx="0">
              <a:schemeClr val="accent4">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6" name="Freeform 5">
              <a:extLst>
                <a:ext uri="{FF2B5EF4-FFF2-40B4-BE49-F238E27FC236}">
                  <a16:creationId xmlns:a16="http://schemas.microsoft.com/office/drawing/2014/main" id="{9E0613A2-F23C-DCB8-81FC-9087E90030D4}"/>
                </a:ext>
              </a:extLst>
            </p:cNvPr>
            <p:cNvSpPr/>
            <p:nvPr/>
          </p:nvSpPr>
          <p:spPr>
            <a:xfrm>
              <a:off x="323514"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rtl="0">
                <a:lnSpc>
                  <a:spcPct val="90000"/>
                </a:lnSpc>
                <a:spcBef>
                  <a:spcPct val="0"/>
                </a:spcBef>
                <a:spcAft>
                  <a:spcPct val="35000"/>
                </a:spcAft>
                <a:buNone/>
              </a:pPr>
              <a:r>
                <a:rPr lang="en-US" sz="1100" b="1" kern="1200" dirty="0">
                  <a:solidFill>
                    <a:schemeClr val="tx1"/>
                  </a:solidFill>
                  <a:latin typeface="+mn-lt"/>
                </a:rPr>
                <a:t>Create job requisition (manually, using Agentic AI or intake through ATS integration)</a:t>
              </a:r>
            </a:p>
          </p:txBody>
        </p:sp>
        <p:sp>
          <p:nvSpPr>
            <p:cNvPr id="7" name="Freeform 6">
              <a:extLst>
                <a:ext uri="{FF2B5EF4-FFF2-40B4-BE49-F238E27FC236}">
                  <a16:creationId xmlns:a16="http://schemas.microsoft.com/office/drawing/2014/main" id="{F47F399A-B9F2-F0C9-9332-AE915DD8FBF4}"/>
                </a:ext>
              </a:extLst>
            </p:cNvPr>
            <p:cNvSpPr/>
            <p:nvPr/>
          </p:nvSpPr>
          <p:spPr>
            <a:xfrm>
              <a:off x="1376548"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260304"/>
                <a:satOff val="0"/>
                <a:lumOff val="-1902"/>
                <a:alphaOff val="0"/>
              </a:schemeClr>
            </a:fillRef>
            <a:effectRef idx="0">
              <a:schemeClr val="accent4">
                <a:hueOff val="260304"/>
                <a:satOff val="0"/>
                <a:lumOff val="-1902"/>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Create job description (manually or using a job description template)</a:t>
              </a:r>
            </a:p>
          </p:txBody>
        </p:sp>
        <p:sp>
          <p:nvSpPr>
            <p:cNvPr id="8" name="Freeform 7">
              <a:extLst>
                <a:ext uri="{FF2B5EF4-FFF2-40B4-BE49-F238E27FC236}">
                  <a16:creationId xmlns:a16="http://schemas.microsoft.com/office/drawing/2014/main" id="{2CDCB0DB-A7F6-5A90-275A-884F74C9CDC1}"/>
                </a:ext>
              </a:extLst>
            </p:cNvPr>
            <p:cNvSpPr/>
            <p:nvPr/>
          </p:nvSpPr>
          <p:spPr>
            <a:xfrm>
              <a:off x="2429581"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520609"/>
                <a:satOff val="0"/>
                <a:lumOff val="-3804"/>
                <a:alphaOff val="0"/>
              </a:schemeClr>
            </a:fillRef>
            <a:effectRef idx="0">
              <a:schemeClr val="accent4">
                <a:hueOff val="520609"/>
                <a:satOff val="0"/>
                <a:lumOff val="-3804"/>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Submit for approval</a:t>
              </a:r>
            </a:p>
          </p:txBody>
        </p:sp>
        <p:sp>
          <p:nvSpPr>
            <p:cNvPr id="9" name="Freeform 8">
              <a:extLst>
                <a:ext uri="{FF2B5EF4-FFF2-40B4-BE49-F238E27FC236}">
                  <a16:creationId xmlns:a16="http://schemas.microsoft.com/office/drawing/2014/main" id="{0FBBD56E-5412-78C5-0981-06134725B070}"/>
                </a:ext>
              </a:extLst>
            </p:cNvPr>
            <p:cNvSpPr/>
            <p:nvPr/>
          </p:nvSpPr>
          <p:spPr>
            <a:xfrm>
              <a:off x="3482614"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780913"/>
                <a:satOff val="0"/>
                <a:lumOff val="-5706"/>
                <a:alphaOff val="0"/>
              </a:schemeClr>
            </a:fillRef>
            <a:effectRef idx="0">
              <a:schemeClr val="accent4">
                <a:hueOff val="780913"/>
                <a:satOff val="0"/>
                <a:lumOff val="-5706"/>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Open requisition</a:t>
              </a:r>
            </a:p>
          </p:txBody>
        </p:sp>
        <p:sp>
          <p:nvSpPr>
            <p:cNvPr id="10" name="Freeform 9">
              <a:extLst>
                <a:ext uri="{FF2B5EF4-FFF2-40B4-BE49-F238E27FC236}">
                  <a16:creationId xmlns:a16="http://schemas.microsoft.com/office/drawing/2014/main" id="{D8157B58-41FA-A28A-2E95-146AB4CD7D7D}"/>
                </a:ext>
              </a:extLst>
            </p:cNvPr>
            <p:cNvSpPr/>
            <p:nvPr/>
          </p:nvSpPr>
          <p:spPr>
            <a:xfrm>
              <a:off x="4535648"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1041218"/>
                <a:satOff val="0"/>
                <a:lumOff val="-7608"/>
                <a:alphaOff val="0"/>
              </a:schemeClr>
            </a:fillRef>
            <a:effectRef idx="0">
              <a:schemeClr val="accent4">
                <a:hueOff val="1041218"/>
                <a:satOff val="0"/>
                <a:lumOff val="-7608"/>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Assess applications</a:t>
              </a:r>
            </a:p>
          </p:txBody>
        </p:sp>
        <p:sp>
          <p:nvSpPr>
            <p:cNvPr id="11" name="Freeform 10">
              <a:extLst>
                <a:ext uri="{FF2B5EF4-FFF2-40B4-BE49-F238E27FC236}">
                  <a16:creationId xmlns:a16="http://schemas.microsoft.com/office/drawing/2014/main" id="{E2569E4E-12C4-48A2-ACDF-46CF98322FEC}"/>
                </a:ext>
              </a:extLst>
            </p:cNvPr>
            <p:cNvSpPr/>
            <p:nvPr/>
          </p:nvSpPr>
          <p:spPr>
            <a:xfrm>
              <a:off x="5588681"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1301522"/>
                <a:satOff val="0"/>
                <a:lumOff val="-9510"/>
                <a:alphaOff val="0"/>
              </a:schemeClr>
            </a:fillRef>
            <a:effectRef idx="0">
              <a:schemeClr val="accent4">
                <a:hueOff val="1301522"/>
                <a:satOff val="0"/>
                <a:lumOff val="-9510"/>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Align on scheduling preferences for upcoming interviews</a:t>
              </a:r>
            </a:p>
          </p:txBody>
        </p:sp>
        <p:sp>
          <p:nvSpPr>
            <p:cNvPr id="12" name="Freeform 11">
              <a:extLst>
                <a:ext uri="{FF2B5EF4-FFF2-40B4-BE49-F238E27FC236}">
                  <a16:creationId xmlns:a16="http://schemas.microsoft.com/office/drawing/2014/main" id="{E4DFB5D0-B7E2-857F-42E7-987EC27B2CE6}"/>
                </a:ext>
              </a:extLst>
            </p:cNvPr>
            <p:cNvSpPr/>
            <p:nvPr/>
          </p:nvSpPr>
          <p:spPr>
            <a:xfrm>
              <a:off x="6641714"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1561826"/>
                <a:satOff val="0"/>
                <a:lumOff val="-11411"/>
                <a:alphaOff val="0"/>
              </a:schemeClr>
            </a:fillRef>
            <a:effectRef idx="0">
              <a:schemeClr val="accent4">
                <a:hueOff val="1561826"/>
                <a:satOff val="0"/>
                <a:lumOff val="-11411"/>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Schedule interviews</a:t>
              </a:r>
            </a:p>
          </p:txBody>
        </p:sp>
        <p:sp>
          <p:nvSpPr>
            <p:cNvPr id="13" name="Freeform 12">
              <a:extLst>
                <a:ext uri="{FF2B5EF4-FFF2-40B4-BE49-F238E27FC236}">
                  <a16:creationId xmlns:a16="http://schemas.microsoft.com/office/drawing/2014/main" id="{3F3474A2-7112-758D-9442-5CBD7F7D5F2F}"/>
                </a:ext>
              </a:extLst>
            </p:cNvPr>
            <p:cNvSpPr/>
            <p:nvPr/>
          </p:nvSpPr>
          <p:spPr>
            <a:xfrm>
              <a:off x="7694748"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1822131"/>
                <a:satOff val="0"/>
                <a:lumOff val="-13313"/>
                <a:alphaOff val="0"/>
              </a:schemeClr>
            </a:fillRef>
            <a:effectRef idx="0">
              <a:schemeClr val="accent4">
                <a:hueOff val="1822131"/>
                <a:satOff val="0"/>
                <a:lumOff val="-13313"/>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Provide interview feedback on applicants</a:t>
              </a:r>
            </a:p>
          </p:txBody>
        </p:sp>
        <p:sp>
          <p:nvSpPr>
            <p:cNvPr id="14" name="Freeform 13">
              <a:extLst>
                <a:ext uri="{FF2B5EF4-FFF2-40B4-BE49-F238E27FC236}">
                  <a16:creationId xmlns:a16="http://schemas.microsoft.com/office/drawing/2014/main" id="{4B4E0EBB-15A6-1573-E99A-0A77964B452E}"/>
                </a:ext>
              </a:extLst>
            </p:cNvPr>
            <p:cNvSpPr/>
            <p:nvPr/>
          </p:nvSpPr>
          <p:spPr>
            <a:xfrm>
              <a:off x="8747781"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2082435"/>
                <a:satOff val="0"/>
                <a:lumOff val="-15215"/>
                <a:alphaOff val="0"/>
              </a:schemeClr>
            </a:fillRef>
            <a:effectRef idx="0">
              <a:schemeClr val="accent4">
                <a:hueOff val="2082435"/>
                <a:satOff val="0"/>
                <a:lumOff val="-15215"/>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t>Offer job to an applicant</a:t>
              </a:r>
            </a:p>
          </p:txBody>
        </p:sp>
        <p:sp>
          <p:nvSpPr>
            <p:cNvPr id="15" name="Freeform 14">
              <a:extLst>
                <a:ext uri="{FF2B5EF4-FFF2-40B4-BE49-F238E27FC236}">
                  <a16:creationId xmlns:a16="http://schemas.microsoft.com/office/drawing/2014/main" id="{1F1E861A-7904-7B1C-033A-11F0AB5531DC}"/>
                </a:ext>
              </a:extLst>
            </p:cNvPr>
            <p:cNvSpPr/>
            <p:nvPr/>
          </p:nvSpPr>
          <p:spPr>
            <a:xfrm>
              <a:off x="9800814"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2342739"/>
                <a:satOff val="0"/>
                <a:lumOff val="-17117"/>
                <a:alphaOff val="0"/>
              </a:schemeClr>
            </a:fillRef>
            <a:effectRef idx="0">
              <a:schemeClr val="accent4">
                <a:hueOff val="2342739"/>
                <a:satOff val="0"/>
                <a:lumOff val="-17117"/>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t>Applicant accepts job</a:t>
              </a:r>
            </a:p>
          </p:txBody>
        </p:sp>
        <p:sp>
          <p:nvSpPr>
            <p:cNvPr id="16" name="Freeform 15">
              <a:extLst>
                <a:ext uri="{FF2B5EF4-FFF2-40B4-BE49-F238E27FC236}">
                  <a16:creationId xmlns:a16="http://schemas.microsoft.com/office/drawing/2014/main" id="{2419588F-CC2B-75BD-EABE-56BC117C0C88}"/>
                </a:ext>
              </a:extLst>
            </p:cNvPr>
            <p:cNvSpPr/>
            <p:nvPr/>
          </p:nvSpPr>
          <p:spPr>
            <a:xfrm>
              <a:off x="10853848" y="2676371"/>
              <a:ext cx="1002888" cy="2166902"/>
            </a:xfrm>
            <a:custGeom>
              <a:avLst/>
              <a:gdLst>
                <a:gd name="connsiteX0" fmla="*/ 0 w 1002888"/>
                <a:gd name="connsiteY0" fmla="*/ 167151 h 2166902"/>
                <a:gd name="connsiteX1" fmla="*/ 167151 w 1002888"/>
                <a:gd name="connsiteY1" fmla="*/ 0 h 2166902"/>
                <a:gd name="connsiteX2" fmla="*/ 835737 w 1002888"/>
                <a:gd name="connsiteY2" fmla="*/ 0 h 2166902"/>
                <a:gd name="connsiteX3" fmla="*/ 1002888 w 1002888"/>
                <a:gd name="connsiteY3" fmla="*/ 167151 h 2166902"/>
                <a:gd name="connsiteX4" fmla="*/ 1002888 w 1002888"/>
                <a:gd name="connsiteY4" fmla="*/ 1999751 h 2166902"/>
                <a:gd name="connsiteX5" fmla="*/ 835737 w 1002888"/>
                <a:gd name="connsiteY5" fmla="*/ 2166902 h 2166902"/>
                <a:gd name="connsiteX6" fmla="*/ 167151 w 1002888"/>
                <a:gd name="connsiteY6" fmla="*/ 2166902 h 2166902"/>
                <a:gd name="connsiteX7" fmla="*/ 0 w 1002888"/>
                <a:gd name="connsiteY7" fmla="*/ 1999751 h 2166902"/>
                <a:gd name="connsiteX8" fmla="*/ 0 w 1002888"/>
                <a:gd name="connsiteY8" fmla="*/ 167151 h 2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88" h="2166902">
                  <a:moveTo>
                    <a:pt x="0" y="167151"/>
                  </a:moveTo>
                  <a:cubicBezTo>
                    <a:pt x="0" y="74836"/>
                    <a:pt x="74836" y="0"/>
                    <a:pt x="167151" y="0"/>
                  </a:cubicBezTo>
                  <a:lnTo>
                    <a:pt x="835737" y="0"/>
                  </a:lnTo>
                  <a:cubicBezTo>
                    <a:pt x="928052" y="0"/>
                    <a:pt x="1002888" y="74836"/>
                    <a:pt x="1002888" y="167151"/>
                  </a:cubicBezTo>
                  <a:lnTo>
                    <a:pt x="1002888" y="1999751"/>
                  </a:lnTo>
                  <a:cubicBezTo>
                    <a:pt x="1002888" y="2092066"/>
                    <a:pt x="928052" y="2166902"/>
                    <a:pt x="835737" y="2166902"/>
                  </a:cubicBezTo>
                  <a:lnTo>
                    <a:pt x="167151" y="2166902"/>
                  </a:lnTo>
                  <a:cubicBezTo>
                    <a:pt x="74836" y="2166902"/>
                    <a:pt x="0" y="2092066"/>
                    <a:pt x="0" y="1999751"/>
                  </a:cubicBezTo>
                  <a:lnTo>
                    <a:pt x="0" y="167151"/>
                  </a:lnTo>
                  <a:close/>
                </a:path>
              </a:pathLst>
            </a:custGeom>
          </p:spPr>
          <p:style>
            <a:lnRef idx="2">
              <a:schemeClr val="lt1">
                <a:hueOff val="0"/>
                <a:satOff val="0"/>
                <a:lumOff val="0"/>
                <a:alphaOff val="0"/>
              </a:schemeClr>
            </a:lnRef>
            <a:fillRef idx="1">
              <a:schemeClr val="accent4">
                <a:hueOff val="2603044"/>
                <a:satOff val="0"/>
                <a:lumOff val="-19019"/>
                <a:alphaOff val="0"/>
              </a:schemeClr>
            </a:fillRef>
            <a:effectRef idx="0">
              <a:schemeClr val="accent4">
                <a:hueOff val="2603044"/>
                <a:satOff val="0"/>
                <a:lumOff val="-19019"/>
                <a:alphaOff val="0"/>
              </a:schemeClr>
            </a:effectRef>
            <a:fontRef idx="minor">
              <a:schemeClr val="lt1"/>
            </a:fontRef>
          </p:style>
          <p:txBody>
            <a:bodyPr spcFirstLastPara="0" vert="horz" wrap="square" lIns="90867" tIns="90867" rIns="90867" bIns="90867" numCol="1" spcCol="1270" anchor="ctr" anchorCtr="0">
              <a:noAutofit/>
            </a:bodyPr>
            <a:lstStyle/>
            <a:p>
              <a:pPr marL="0" lvl="0" indent="0" algn="ctr" defTabSz="488950">
                <a:lnSpc>
                  <a:spcPct val="90000"/>
                </a:lnSpc>
                <a:spcBef>
                  <a:spcPct val="0"/>
                </a:spcBef>
                <a:spcAft>
                  <a:spcPct val="35000"/>
                </a:spcAft>
                <a:buNone/>
              </a:pPr>
              <a:r>
                <a:rPr lang="en-US" sz="1100" b="1" kern="1200" dirty="0"/>
                <a:t>Close requisition</a:t>
              </a:r>
            </a:p>
          </p:txBody>
        </p:sp>
      </p:grpSp>
    </p:spTree>
    <p:extLst>
      <p:ext uri="{BB962C8B-B14F-4D97-AF65-F5344CB8AC3E}">
        <p14:creationId xmlns:p14="http://schemas.microsoft.com/office/powerpoint/2010/main" val="53309087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7B8AA-53CE-AE04-831F-59A21F85A4F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D1AE2AE-CEF7-7117-18CA-9533FDCDCF40}"/>
              </a:ext>
            </a:extLst>
          </p:cNvPr>
          <p:cNvSpPr>
            <a:spLocks noGrp="1"/>
          </p:cNvSpPr>
          <p:nvPr>
            <p:ph type="title"/>
          </p:nvPr>
        </p:nvSpPr>
        <p:spPr>
          <a:xfrm>
            <a:off x="548640" y="530352"/>
            <a:ext cx="11082973" cy="594360"/>
          </a:xfrm>
        </p:spPr>
        <p:txBody>
          <a:bodyPr/>
          <a:lstStyle/>
          <a:p>
            <a:r>
              <a:rPr lang="en-US" dirty="0"/>
              <a:t>New job opening request</a:t>
            </a:r>
          </a:p>
        </p:txBody>
      </p:sp>
      <p:sp>
        <p:nvSpPr>
          <p:cNvPr id="9" name="Text Placeholder 8">
            <a:extLst>
              <a:ext uri="{FF2B5EF4-FFF2-40B4-BE49-F238E27FC236}">
                <a16:creationId xmlns:a16="http://schemas.microsoft.com/office/drawing/2014/main" id="{90200EC3-B81B-EEFF-1600-C31170D0C66C}"/>
              </a:ext>
            </a:extLst>
          </p:cNvPr>
          <p:cNvSpPr>
            <a:spLocks noGrp="1"/>
          </p:cNvSpPr>
          <p:nvPr>
            <p:ph type="subTitle" idx="13"/>
          </p:nvPr>
        </p:nvSpPr>
        <p:spPr>
          <a:xfrm>
            <a:off x="548640" y="1097280"/>
            <a:ext cx="11088688" cy="696849"/>
          </a:xfrm>
        </p:spPr>
        <p:txBody>
          <a:bodyPr/>
          <a:lstStyle/>
          <a:p>
            <a:r>
              <a:rPr lang="en-US" dirty="0"/>
              <a:t>Record producer</a:t>
            </a:r>
          </a:p>
        </p:txBody>
      </p:sp>
      <p:sp>
        <p:nvSpPr>
          <p:cNvPr id="12" name="Content Placeholder 11">
            <a:extLst>
              <a:ext uri="{FF2B5EF4-FFF2-40B4-BE49-F238E27FC236}">
                <a16:creationId xmlns:a16="http://schemas.microsoft.com/office/drawing/2014/main" id="{6A9BBA4B-455A-7B2E-C492-E865A3F634BE}"/>
              </a:ext>
            </a:extLst>
          </p:cNvPr>
          <p:cNvSpPr>
            <a:spLocks noGrp="1"/>
          </p:cNvSpPr>
          <p:nvPr>
            <p:ph type="body" sz="quarter" idx="16"/>
          </p:nvPr>
        </p:nvSpPr>
        <p:spPr>
          <a:xfrm>
            <a:off x="544831" y="1955800"/>
            <a:ext cx="4789170" cy="4270248"/>
          </a:xfrm>
        </p:spPr>
        <p:txBody>
          <a:bodyPr/>
          <a:lstStyle/>
          <a:p>
            <a:r>
              <a:rPr lang="en-US" dirty="0"/>
              <a:t>Hiring managers can submit a request for a job requisition directly from the Hiring tab within Manager Hub.</a:t>
            </a:r>
          </a:p>
          <a:p>
            <a:br>
              <a:rPr lang="en-US" dirty="0"/>
            </a:br>
            <a:endParaRPr lang="en-US" dirty="0"/>
          </a:p>
          <a:p>
            <a:endParaRPr lang="en-US" dirty="0"/>
          </a:p>
        </p:txBody>
      </p:sp>
      <p:pic>
        <p:nvPicPr>
          <p:cNvPr id="2" name="Picture 1">
            <a:extLst>
              <a:ext uri="{FF2B5EF4-FFF2-40B4-BE49-F238E27FC236}">
                <a16:creationId xmlns:a16="http://schemas.microsoft.com/office/drawing/2014/main" id="{4CB98AFB-31E1-CE8D-D39D-5DCBEF55481B}"/>
              </a:ext>
            </a:extLst>
          </p:cNvPr>
          <p:cNvPicPr>
            <a:picLocks noChangeAspect="1"/>
          </p:cNvPicPr>
          <p:nvPr/>
        </p:nvPicPr>
        <p:blipFill>
          <a:blip r:embed="rId3"/>
          <a:stretch>
            <a:fillRect/>
          </a:stretch>
        </p:blipFill>
        <p:spPr>
          <a:xfrm>
            <a:off x="5682343" y="1283949"/>
            <a:ext cx="6048224" cy="5043699"/>
          </a:xfrm>
          <a:prstGeom prst="rect">
            <a:avLst/>
          </a:prstGeom>
        </p:spPr>
      </p:pic>
    </p:spTree>
    <p:extLst>
      <p:ext uri="{BB962C8B-B14F-4D97-AF65-F5344CB8AC3E}">
        <p14:creationId xmlns:p14="http://schemas.microsoft.com/office/powerpoint/2010/main" val="397104132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41B5A-D013-33D0-F6D6-7C3657B7B27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A6D33B0-900E-5DC0-D93B-77377C94D660}"/>
              </a:ext>
            </a:extLst>
          </p:cNvPr>
          <p:cNvSpPr>
            <a:spLocks noGrp="1"/>
          </p:cNvSpPr>
          <p:nvPr>
            <p:ph type="title"/>
          </p:nvPr>
        </p:nvSpPr>
        <p:spPr>
          <a:prstGeom prst="rect">
            <a:avLst/>
          </a:prstGeom>
        </p:spPr>
        <p:txBody>
          <a:bodyPr/>
          <a:lstStyle/>
          <a:p>
            <a:r>
              <a:rPr lang="en-US" dirty="0"/>
              <a:t>User instructions</a:t>
            </a:r>
          </a:p>
        </p:txBody>
      </p:sp>
      <p:sp>
        <p:nvSpPr>
          <p:cNvPr id="6" name="Subtitle 5">
            <a:extLst>
              <a:ext uri="{FF2B5EF4-FFF2-40B4-BE49-F238E27FC236}">
                <a16:creationId xmlns:a16="http://schemas.microsoft.com/office/drawing/2014/main" id="{70093E62-199D-6C1B-3F0C-F2F730DAAACE}"/>
              </a:ext>
            </a:extLst>
          </p:cNvPr>
          <p:cNvSpPr>
            <a:spLocks noGrp="1"/>
          </p:cNvSpPr>
          <p:nvPr>
            <p:ph type="subTitle" idx="13"/>
          </p:nvPr>
        </p:nvSpPr>
        <p:spPr>
          <a:prstGeom prst="rect">
            <a:avLst/>
          </a:prstGeom>
        </p:spPr>
        <p:txBody>
          <a:bodyPr/>
          <a:lstStyle/>
          <a:p>
            <a:r>
              <a:rPr lang="en-US" b="1" dirty="0"/>
              <a:t>PLEASE REMOVE THIS SLIDE BEFORE PRESENTING</a:t>
            </a:r>
          </a:p>
        </p:txBody>
      </p:sp>
      <p:sp>
        <p:nvSpPr>
          <p:cNvPr id="7" name="Text Placeholder 6">
            <a:extLst>
              <a:ext uri="{FF2B5EF4-FFF2-40B4-BE49-F238E27FC236}">
                <a16:creationId xmlns:a16="http://schemas.microsoft.com/office/drawing/2014/main" id="{A746F8FB-3AE3-72C3-C85E-1A69FA9A8BB7}"/>
              </a:ext>
            </a:extLst>
          </p:cNvPr>
          <p:cNvSpPr>
            <a:spLocks noGrp="1"/>
          </p:cNvSpPr>
          <p:nvPr>
            <p:ph type="body" sz="quarter" idx="16"/>
          </p:nvPr>
        </p:nvSpPr>
        <p:spPr>
          <a:prstGeom prst="rect">
            <a:avLst/>
          </a:prstGeom>
        </p:spPr>
        <p:txBody>
          <a:bodyPr/>
          <a:lstStyle/>
          <a:p>
            <a:r>
              <a:rPr lang="en-US" dirty="0"/>
              <a:t>How:</a:t>
            </a:r>
          </a:p>
          <a:p>
            <a:pPr lvl="1">
              <a:buFont typeface="Arial" panose="020B0604020202020204" pitchFamily="34" charset="0"/>
              <a:buChar char="•"/>
            </a:pPr>
            <a:r>
              <a:rPr lang="en-US" sz="1799" dirty="0"/>
              <a:t>Customers (self–implementation) – Use the deck as it is or add to your corporate template. Alternatively, utilize individual slides to enhance your internal communications.</a:t>
            </a:r>
          </a:p>
          <a:p>
            <a:pPr lvl="1">
              <a:buFont typeface="Arial" panose="020B0604020202020204" pitchFamily="34" charset="0"/>
              <a:buChar char="•"/>
            </a:pPr>
            <a:r>
              <a:rPr lang="en-US" sz="1799" dirty="0"/>
              <a:t>Partner or Co-Delivery implementations – Use the deck and add your logo, following the instructions on a following slide. </a:t>
            </a:r>
          </a:p>
          <a:p>
            <a:pPr lvl="1">
              <a:buFont typeface="Arial" panose="020B0604020202020204" pitchFamily="34" charset="0"/>
              <a:buChar char="•"/>
            </a:pPr>
            <a:r>
              <a:rPr lang="en-US" sz="1799" dirty="0"/>
              <a:t>ServiceNow Expert Services</a:t>
            </a:r>
          </a:p>
          <a:p>
            <a:pPr lvl="2">
              <a:buFont typeface="System Font Regular"/>
              <a:buChar char="⎼"/>
            </a:pPr>
            <a:r>
              <a:rPr lang="en-US" sz="1799" dirty="0"/>
              <a:t>Remove the PartnerLogo using the Slide Master (View &gt; Slide Master &gt; select the vertical line and the PartnerLogo at the bottom of the Master Slide and delete. If you see any other instances of PartnerLogo just follow the same process from that slide). If you have any issues, please submit a feedback on the Best Practices portal.</a:t>
            </a:r>
          </a:p>
          <a:p>
            <a:pPr lvl="2">
              <a:buFont typeface="System Font Regular"/>
              <a:buChar char="⎼"/>
            </a:pPr>
            <a:r>
              <a:rPr lang="en-US" sz="1799" dirty="0"/>
              <a:t>Tailor the presentation for the needs of your specific implementation.</a:t>
            </a:r>
          </a:p>
        </p:txBody>
      </p:sp>
    </p:spTree>
    <p:extLst>
      <p:ext uri="{BB962C8B-B14F-4D97-AF65-F5344CB8AC3E}">
        <p14:creationId xmlns:p14="http://schemas.microsoft.com/office/powerpoint/2010/main" val="24008932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1F709-F93A-A03B-2141-0B6B93FC863C}"/>
              </a:ext>
            </a:extLst>
          </p:cNvPr>
          <p:cNvSpPr>
            <a:spLocks noGrp="1"/>
          </p:cNvSpPr>
          <p:nvPr>
            <p:ph type="title"/>
          </p:nvPr>
        </p:nvSpPr>
        <p:spPr/>
        <p:txBody>
          <a:bodyPr/>
          <a:lstStyle/>
          <a:p>
            <a:r>
              <a:rPr lang="en-US" dirty="0"/>
              <a:t>Job requisition assignment</a:t>
            </a:r>
          </a:p>
        </p:txBody>
      </p:sp>
      <p:sp>
        <p:nvSpPr>
          <p:cNvPr id="4" name="Text Placeholder 3">
            <a:extLst>
              <a:ext uri="{FF2B5EF4-FFF2-40B4-BE49-F238E27FC236}">
                <a16:creationId xmlns:a16="http://schemas.microsoft.com/office/drawing/2014/main" id="{3E44205A-4C7E-64E0-C209-4CB332A43D8F}"/>
              </a:ext>
            </a:extLst>
          </p:cNvPr>
          <p:cNvSpPr>
            <a:spLocks noGrp="1"/>
          </p:cNvSpPr>
          <p:nvPr>
            <p:ph type="body" sz="quarter" idx="16"/>
          </p:nvPr>
        </p:nvSpPr>
        <p:spPr>
          <a:xfrm>
            <a:off x="544829" y="1955800"/>
            <a:ext cx="3700939" cy="4270248"/>
          </a:xfrm>
        </p:spPr>
        <p:txBody>
          <a:bodyPr vert="horz" lIns="0" tIns="0" rIns="0" bIns="0" rtlCol="0" anchor="t">
            <a:noAutofit/>
          </a:bodyPr>
          <a:lstStyle/>
          <a:p>
            <a:r>
              <a:rPr lang="en-US" dirty="0"/>
              <a:t>Create assignment groups to allocate job requisitions efficiently among the recruiters.</a:t>
            </a:r>
          </a:p>
          <a:p>
            <a:r>
              <a:rPr lang="en-US" dirty="0"/>
              <a:t>The process of assignment might be automated or manual to:</a:t>
            </a:r>
          </a:p>
          <a:p>
            <a:pPr marL="285750" indent="-285750">
              <a:buFont typeface="Arial" panose="020B0604020202020204" pitchFamily="34" charset="0"/>
              <a:buChar char="•"/>
            </a:pPr>
            <a:r>
              <a:rPr lang="en-US" sz="1600" dirty="0"/>
              <a:t>Allocate a type of job requisition to a group</a:t>
            </a:r>
          </a:p>
          <a:p>
            <a:pPr marL="285750" indent="-285750">
              <a:buFont typeface="Arial" panose="020B0604020202020204" pitchFamily="34" charset="0"/>
              <a:buChar char="•"/>
            </a:pPr>
            <a:r>
              <a:rPr lang="en-US" sz="1600" dirty="0"/>
              <a:t>Automate the process of job requisition assignment</a:t>
            </a:r>
          </a:p>
          <a:p>
            <a:pPr marL="285750" indent="-285750">
              <a:buFont typeface="Arial" panose="020B0604020202020204" pitchFamily="34" charset="0"/>
              <a:buChar char="•"/>
            </a:pPr>
            <a:r>
              <a:rPr lang="en-US" sz="1600" dirty="0"/>
              <a:t>Decrease the time spent on determining which requisition should be assigned to which recruiter</a:t>
            </a:r>
          </a:p>
          <a:p>
            <a:endParaRPr lang="en-US" dirty="0"/>
          </a:p>
          <a:p>
            <a:br>
              <a:rPr lang="en-US" dirty="0"/>
            </a:br>
            <a:endParaRPr lang="en-US" dirty="0"/>
          </a:p>
        </p:txBody>
      </p:sp>
      <p:pic>
        <p:nvPicPr>
          <p:cNvPr id="6" name="Picture 5">
            <a:extLst>
              <a:ext uri="{FF2B5EF4-FFF2-40B4-BE49-F238E27FC236}">
                <a16:creationId xmlns:a16="http://schemas.microsoft.com/office/drawing/2014/main" id="{173F6ABE-2689-9B10-CEAF-CDB1BEB5A49A}"/>
              </a:ext>
            </a:extLst>
          </p:cNvPr>
          <p:cNvPicPr>
            <a:picLocks noChangeAspect="1"/>
          </p:cNvPicPr>
          <p:nvPr/>
        </p:nvPicPr>
        <p:blipFill>
          <a:blip r:embed="rId2"/>
          <a:stretch>
            <a:fillRect/>
          </a:stretch>
        </p:blipFill>
        <p:spPr>
          <a:xfrm>
            <a:off x="4492172" y="1316968"/>
            <a:ext cx="7139441" cy="5010680"/>
          </a:xfrm>
          <a:prstGeom prst="rect">
            <a:avLst/>
          </a:prstGeom>
        </p:spPr>
      </p:pic>
      <p:sp>
        <p:nvSpPr>
          <p:cNvPr id="7" name="Rectangle 6">
            <a:extLst>
              <a:ext uri="{FF2B5EF4-FFF2-40B4-BE49-F238E27FC236}">
                <a16:creationId xmlns:a16="http://schemas.microsoft.com/office/drawing/2014/main" id="{447F1FBF-75A9-AD8E-AD70-E41342A84C28}"/>
              </a:ext>
            </a:extLst>
          </p:cNvPr>
          <p:cNvSpPr/>
          <p:nvPr/>
        </p:nvSpPr>
        <p:spPr>
          <a:xfrm>
            <a:off x="8061892" y="5087256"/>
            <a:ext cx="3323318" cy="81337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254472928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25F30-853A-923D-176B-C75F6C5BA2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2A06E96-B078-87BE-B3C9-03A01B47B53F}"/>
              </a:ext>
            </a:extLst>
          </p:cNvPr>
          <p:cNvSpPr>
            <a:spLocks noGrp="1"/>
          </p:cNvSpPr>
          <p:nvPr>
            <p:ph type="title"/>
          </p:nvPr>
        </p:nvSpPr>
        <p:spPr>
          <a:xfrm>
            <a:off x="548640" y="530352"/>
            <a:ext cx="11082973" cy="594360"/>
          </a:xfrm>
        </p:spPr>
        <p:txBody>
          <a:bodyPr/>
          <a:lstStyle/>
          <a:p>
            <a:r>
              <a:rPr lang="en-US" dirty="0"/>
              <a:t>Job description templates</a:t>
            </a:r>
          </a:p>
        </p:txBody>
      </p:sp>
      <p:sp>
        <p:nvSpPr>
          <p:cNvPr id="12" name="Content Placeholder 11">
            <a:extLst>
              <a:ext uri="{FF2B5EF4-FFF2-40B4-BE49-F238E27FC236}">
                <a16:creationId xmlns:a16="http://schemas.microsoft.com/office/drawing/2014/main" id="{C63A6024-985B-236F-6728-178475F09B0D}"/>
              </a:ext>
            </a:extLst>
          </p:cNvPr>
          <p:cNvSpPr>
            <a:spLocks noGrp="1"/>
          </p:cNvSpPr>
          <p:nvPr>
            <p:ph type="body" sz="quarter" idx="16"/>
          </p:nvPr>
        </p:nvSpPr>
        <p:spPr>
          <a:xfrm>
            <a:off x="548641" y="2605004"/>
            <a:ext cx="2967446" cy="2942771"/>
          </a:xfrm>
        </p:spPr>
        <p:txBody>
          <a:bodyPr/>
          <a:lstStyle/>
          <a:p>
            <a:r>
              <a:rPr lang="en-US" dirty="0"/>
              <a:t>Define job description templates which are available globally to all recruiters.</a:t>
            </a:r>
          </a:p>
          <a:p>
            <a:r>
              <a:rPr lang="en-US" dirty="0"/>
              <a:t>Recruiters can create job description templates for themselves and add these templates to assignment groups to which they belong for other recruiters to use.</a:t>
            </a:r>
          </a:p>
          <a:p>
            <a:br>
              <a:rPr lang="en-US" dirty="0"/>
            </a:br>
            <a:endParaRPr lang="en-US" dirty="0"/>
          </a:p>
          <a:p>
            <a:br>
              <a:rPr lang="en-US" dirty="0"/>
            </a:br>
            <a:endParaRPr lang="en-US" dirty="0"/>
          </a:p>
        </p:txBody>
      </p:sp>
      <p:pic>
        <p:nvPicPr>
          <p:cNvPr id="2" name="Picture 1">
            <a:extLst>
              <a:ext uri="{FF2B5EF4-FFF2-40B4-BE49-F238E27FC236}">
                <a16:creationId xmlns:a16="http://schemas.microsoft.com/office/drawing/2014/main" id="{CB2376F9-63A0-E288-69F3-6DDA9803E0B2}"/>
              </a:ext>
            </a:extLst>
          </p:cNvPr>
          <p:cNvPicPr>
            <a:picLocks noChangeAspect="1"/>
          </p:cNvPicPr>
          <p:nvPr/>
        </p:nvPicPr>
        <p:blipFill>
          <a:blip r:embed="rId2"/>
          <a:stretch>
            <a:fillRect/>
          </a:stretch>
        </p:blipFill>
        <p:spPr>
          <a:xfrm>
            <a:off x="3663068" y="2605004"/>
            <a:ext cx="8127656" cy="2942771"/>
          </a:xfrm>
          <a:prstGeom prst="rect">
            <a:avLst/>
          </a:prstGeom>
        </p:spPr>
      </p:pic>
      <p:sp>
        <p:nvSpPr>
          <p:cNvPr id="3" name="Content Placeholder 11">
            <a:extLst>
              <a:ext uri="{FF2B5EF4-FFF2-40B4-BE49-F238E27FC236}">
                <a16:creationId xmlns:a16="http://schemas.microsoft.com/office/drawing/2014/main" id="{46C52CD8-B051-A756-3BA4-CC8852B596DC}"/>
              </a:ext>
            </a:extLst>
          </p:cNvPr>
          <p:cNvSpPr txBox="1">
            <a:spLocks/>
          </p:cNvSpPr>
          <p:nvPr/>
        </p:nvSpPr>
        <p:spPr>
          <a:xfrm>
            <a:off x="548640" y="1691640"/>
            <a:ext cx="11242084" cy="427024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ServiceNow Sans Light" panose="020B0404040101010104" pitchFamily="34" charset="0"/>
              <a:buChar char="​"/>
              <a:defRPr lang="en-US" sz="1800" b="0" i="0" kern="1200" spc="0" baseline="0" dirty="0">
                <a:solidFill>
                  <a:schemeClr val="bg1"/>
                </a:solidFill>
                <a:latin typeface="+mn-lt"/>
                <a:ea typeface="+mn-ea"/>
                <a:cs typeface="ServiceNow Sans Light" panose="020B0404040101010104" pitchFamily="34" charset="77"/>
              </a:defRPr>
            </a:lvl1pPr>
            <a:lvl2pPr marL="18288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600" b="0" i="0" kern="1200" spc="0" baseline="0">
                <a:solidFill>
                  <a:schemeClr val="bg1"/>
                </a:solidFill>
                <a:latin typeface="+mn-lt"/>
                <a:ea typeface="+mn-ea"/>
                <a:cs typeface="ServiceNow Sans Light" panose="020B0404040101010104" pitchFamily="34" charset="77"/>
              </a:defRPr>
            </a:lvl2pPr>
            <a:lvl3pPr marL="36576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400" b="0" i="0" kern="1200" spc="0" baseline="0" dirty="0">
                <a:solidFill>
                  <a:schemeClr val="bg1"/>
                </a:solidFill>
                <a:latin typeface="+mn-lt"/>
                <a:ea typeface="+mn-ea"/>
                <a:cs typeface="ServiceNow Sans Medium" panose="020B0704040101010104" pitchFamily="34" charset="0"/>
              </a:defRPr>
            </a:lvl4pPr>
            <a:lvl5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Medium" panose="020B0704040101010104" pitchFamily="34" charset="0"/>
              </a:defRPr>
            </a:lvl5pPr>
            <a:lvl6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a:solidFill>
                  <a:schemeClr val="bg1"/>
                </a:solidFill>
                <a:latin typeface="+mn-lt"/>
                <a:ea typeface="+mn-ea"/>
                <a:cs typeface="ServiceNow Sans Display Bold" panose="020B0504040101010104" pitchFamily="34" charset="77"/>
              </a:defRPr>
            </a:lvl6pPr>
            <a:lvl7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7pPr>
            <a:lvl8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8pPr>
            <a:lvl9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sz="1400" kern="1200">
                <a:solidFill>
                  <a:schemeClr val="bg1"/>
                </a:solidFill>
                <a:latin typeface="+mn-lt"/>
                <a:ea typeface="+mn-ea"/>
                <a:cs typeface="+mn-cs"/>
              </a:defRPr>
            </a:lvl9pPr>
          </a:lstStyle>
          <a:p>
            <a:r>
              <a:rPr lang="en-US" dirty="0"/>
              <a:t>Create standard job descriptions that can be used for similar roles. The job descriptions make the process of requesting a job opening easier and more streamlined.</a:t>
            </a:r>
            <a:br>
              <a:rPr lang="en-US" dirty="0"/>
            </a:br>
            <a:endParaRPr lang="en-US" dirty="0"/>
          </a:p>
        </p:txBody>
      </p:sp>
    </p:spTree>
    <p:extLst>
      <p:ext uri="{BB962C8B-B14F-4D97-AF65-F5344CB8AC3E}">
        <p14:creationId xmlns:p14="http://schemas.microsoft.com/office/powerpoint/2010/main" val="31691696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C850F-A92C-92F5-FD5E-888FF318011F}"/>
              </a:ext>
            </a:extLst>
          </p:cNvPr>
          <p:cNvSpPr>
            <a:spLocks noGrp="1"/>
          </p:cNvSpPr>
          <p:nvPr>
            <p:ph type="title"/>
          </p:nvPr>
        </p:nvSpPr>
        <p:spPr/>
        <p:txBody>
          <a:bodyPr/>
          <a:lstStyle/>
          <a:p>
            <a:r>
              <a:rPr lang="en-US" dirty="0"/>
              <a:t>Job requisition approvals</a:t>
            </a:r>
          </a:p>
        </p:txBody>
      </p:sp>
      <p:sp>
        <p:nvSpPr>
          <p:cNvPr id="4" name="Text Placeholder 3">
            <a:extLst>
              <a:ext uri="{FF2B5EF4-FFF2-40B4-BE49-F238E27FC236}">
                <a16:creationId xmlns:a16="http://schemas.microsoft.com/office/drawing/2014/main" id="{D9508B08-AB95-DD0B-AA56-CA7016209EE6}"/>
              </a:ext>
            </a:extLst>
          </p:cNvPr>
          <p:cNvSpPr>
            <a:spLocks noGrp="1"/>
          </p:cNvSpPr>
          <p:nvPr>
            <p:ph type="body" sz="quarter" idx="16"/>
          </p:nvPr>
        </p:nvSpPr>
        <p:spPr>
          <a:xfrm>
            <a:off x="544830" y="1955800"/>
            <a:ext cx="11092498" cy="4270248"/>
          </a:xfrm>
        </p:spPr>
        <p:txBody>
          <a:bodyPr/>
          <a:lstStyle/>
          <a:p>
            <a:r>
              <a:rPr lang="en-US" dirty="0"/>
              <a:t>Submit a job requisition for approval to higher management.</a:t>
            </a:r>
          </a:p>
          <a:p>
            <a:br>
              <a:rPr lang="en-US" dirty="0"/>
            </a:br>
            <a:endParaRPr lang="en-US" dirty="0"/>
          </a:p>
          <a:p>
            <a:endParaRPr lang="en-US" dirty="0"/>
          </a:p>
        </p:txBody>
      </p:sp>
      <p:pic>
        <p:nvPicPr>
          <p:cNvPr id="6" name="Picture 5">
            <a:extLst>
              <a:ext uri="{FF2B5EF4-FFF2-40B4-BE49-F238E27FC236}">
                <a16:creationId xmlns:a16="http://schemas.microsoft.com/office/drawing/2014/main" id="{2122DAA0-DE80-D072-CFD3-F836990B4917}"/>
              </a:ext>
            </a:extLst>
          </p:cNvPr>
          <p:cNvPicPr>
            <a:picLocks noChangeAspect="1"/>
          </p:cNvPicPr>
          <p:nvPr/>
        </p:nvPicPr>
        <p:blipFill>
          <a:blip r:embed="rId2"/>
          <a:stretch>
            <a:fillRect/>
          </a:stretch>
        </p:blipFill>
        <p:spPr>
          <a:xfrm>
            <a:off x="1148983" y="2832046"/>
            <a:ext cx="9933353" cy="3054832"/>
          </a:xfrm>
          <a:prstGeom prst="rect">
            <a:avLst/>
          </a:prstGeom>
        </p:spPr>
      </p:pic>
      <p:sp>
        <p:nvSpPr>
          <p:cNvPr id="7" name="Rectangle 6">
            <a:extLst>
              <a:ext uri="{FF2B5EF4-FFF2-40B4-BE49-F238E27FC236}">
                <a16:creationId xmlns:a16="http://schemas.microsoft.com/office/drawing/2014/main" id="{D0E9B5C0-86D6-7ADD-9EB6-F0A23343A5A1}"/>
              </a:ext>
            </a:extLst>
          </p:cNvPr>
          <p:cNvSpPr/>
          <p:nvPr/>
        </p:nvSpPr>
        <p:spPr>
          <a:xfrm>
            <a:off x="9437914" y="3232182"/>
            <a:ext cx="1240972" cy="30567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157711031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DED3F-B08E-DC9F-4070-12F27A01CB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0A4AB4F-C3B2-0C31-B5CA-0CC2897FB2CC}"/>
              </a:ext>
            </a:extLst>
          </p:cNvPr>
          <p:cNvSpPr>
            <a:spLocks noGrp="1"/>
          </p:cNvSpPr>
          <p:nvPr>
            <p:ph type="title"/>
          </p:nvPr>
        </p:nvSpPr>
        <p:spPr/>
        <p:txBody>
          <a:bodyPr/>
          <a:lstStyle/>
          <a:p>
            <a:r>
              <a:rPr lang="en-US" dirty="0"/>
              <a:t>Job requisition view</a:t>
            </a:r>
          </a:p>
        </p:txBody>
      </p:sp>
      <p:sp>
        <p:nvSpPr>
          <p:cNvPr id="9" name="Text Placeholder 8">
            <a:extLst>
              <a:ext uri="{FF2B5EF4-FFF2-40B4-BE49-F238E27FC236}">
                <a16:creationId xmlns:a16="http://schemas.microsoft.com/office/drawing/2014/main" id="{4052430C-2789-F1AB-0AAE-3D6020C6EDBF}"/>
              </a:ext>
            </a:extLst>
          </p:cNvPr>
          <p:cNvSpPr>
            <a:spLocks noGrp="1"/>
          </p:cNvSpPr>
          <p:nvPr>
            <p:ph type="subTitle" idx="13"/>
          </p:nvPr>
        </p:nvSpPr>
        <p:spPr/>
        <p:txBody>
          <a:bodyPr/>
          <a:lstStyle/>
          <a:p>
            <a:r>
              <a:rPr lang="en-US" dirty="0"/>
              <a:t>Hiring Manager</a:t>
            </a:r>
          </a:p>
        </p:txBody>
      </p:sp>
      <p:sp>
        <p:nvSpPr>
          <p:cNvPr id="12" name="Content Placeholder 11">
            <a:extLst>
              <a:ext uri="{FF2B5EF4-FFF2-40B4-BE49-F238E27FC236}">
                <a16:creationId xmlns:a16="http://schemas.microsoft.com/office/drawing/2014/main" id="{497A432D-A5D5-A0F8-6EC5-6B6B28DA1DCF}"/>
              </a:ext>
            </a:extLst>
          </p:cNvPr>
          <p:cNvSpPr>
            <a:spLocks noGrp="1"/>
          </p:cNvSpPr>
          <p:nvPr>
            <p:ph type="body" sz="quarter" idx="16"/>
          </p:nvPr>
        </p:nvSpPr>
        <p:spPr>
          <a:xfrm>
            <a:off x="544830" y="1955800"/>
            <a:ext cx="3378988" cy="4270248"/>
          </a:xfrm>
        </p:spPr>
        <p:txBody>
          <a:bodyPr/>
          <a:lstStyle/>
          <a:p>
            <a:r>
              <a:rPr lang="en-US" dirty="0"/>
              <a:t>Open requisitions can be viewed by the Hiring Manager on Manager Hub. </a:t>
            </a:r>
          </a:p>
        </p:txBody>
      </p:sp>
      <p:pic>
        <p:nvPicPr>
          <p:cNvPr id="2" name="Picture 1">
            <a:extLst>
              <a:ext uri="{FF2B5EF4-FFF2-40B4-BE49-F238E27FC236}">
                <a16:creationId xmlns:a16="http://schemas.microsoft.com/office/drawing/2014/main" id="{04E407AD-B3E6-5A63-D0F0-CB53674C8CEB}"/>
              </a:ext>
            </a:extLst>
          </p:cNvPr>
          <p:cNvPicPr>
            <a:picLocks noChangeAspect="1"/>
          </p:cNvPicPr>
          <p:nvPr/>
        </p:nvPicPr>
        <p:blipFill>
          <a:blip r:embed="rId2"/>
          <a:stretch>
            <a:fillRect/>
          </a:stretch>
        </p:blipFill>
        <p:spPr>
          <a:xfrm>
            <a:off x="4089401" y="1691640"/>
            <a:ext cx="7542212" cy="4409599"/>
          </a:xfrm>
          <a:prstGeom prst="rect">
            <a:avLst/>
          </a:prstGeom>
        </p:spPr>
      </p:pic>
    </p:spTree>
    <p:extLst>
      <p:ext uri="{BB962C8B-B14F-4D97-AF65-F5344CB8AC3E}">
        <p14:creationId xmlns:p14="http://schemas.microsoft.com/office/powerpoint/2010/main" val="13386689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F66E8-7DF8-D990-E747-AC7ACF7DCC2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B8A10C-4045-2A84-222D-7D57BF5DFE65}"/>
              </a:ext>
            </a:extLst>
          </p:cNvPr>
          <p:cNvSpPr>
            <a:spLocks noGrp="1"/>
          </p:cNvSpPr>
          <p:nvPr>
            <p:ph type="title"/>
          </p:nvPr>
        </p:nvSpPr>
        <p:spPr/>
        <p:txBody>
          <a:bodyPr/>
          <a:lstStyle/>
          <a:p>
            <a:r>
              <a:rPr lang="en-US" dirty="0"/>
              <a:t>Job requisition view</a:t>
            </a:r>
          </a:p>
        </p:txBody>
      </p:sp>
      <p:sp>
        <p:nvSpPr>
          <p:cNvPr id="9" name="Text Placeholder 8">
            <a:extLst>
              <a:ext uri="{FF2B5EF4-FFF2-40B4-BE49-F238E27FC236}">
                <a16:creationId xmlns:a16="http://schemas.microsoft.com/office/drawing/2014/main" id="{30A738D5-8F0A-B1DD-46E5-39DC26475887}"/>
              </a:ext>
            </a:extLst>
          </p:cNvPr>
          <p:cNvSpPr>
            <a:spLocks noGrp="1"/>
          </p:cNvSpPr>
          <p:nvPr>
            <p:ph type="subTitle" idx="13"/>
          </p:nvPr>
        </p:nvSpPr>
        <p:spPr/>
        <p:txBody>
          <a:bodyPr/>
          <a:lstStyle/>
          <a:p>
            <a:r>
              <a:rPr lang="en-US" dirty="0"/>
              <a:t>Hiring Manager</a:t>
            </a:r>
          </a:p>
        </p:txBody>
      </p:sp>
      <p:sp>
        <p:nvSpPr>
          <p:cNvPr id="12" name="Content Placeholder 11">
            <a:extLst>
              <a:ext uri="{FF2B5EF4-FFF2-40B4-BE49-F238E27FC236}">
                <a16:creationId xmlns:a16="http://schemas.microsoft.com/office/drawing/2014/main" id="{1A014AB4-8BC6-16DA-5178-7CF9FD564632}"/>
              </a:ext>
            </a:extLst>
          </p:cNvPr>
          <p:cNvSpPr>
            <a:spLocks noGrp="1"/>
          </p:cNvSpPr>
          <p:nvPr>
            <p:ph type="body" sz="quarter" idx="16"/>
          </p:nvPr>
        </p:nvSpPr>
        <p:spPr>
          <a:xfrm>
            <a:off x="544830" y="1955800"/>
            <a:ext cx="4103371" cy="4270248"/>
          </a:xfrm>
        </p:spPr>
        <p:txBody>
          <a:bodyPr/>
          <a:lstStyle/>
          <a:p>
            <a:r>
              <a:rPr lang="en-US" dirty="0"/>
              <a:t>View the current state of the job requisition as well as: </a:t>
            </a:r>
          </a:p>
          <a:p>
            <a:pPr marL="285750" indent="-285750">
              <a:buFont typeface="Arial" panose="020B0604020202020204" pitchFamily="34" charset="0"/>
              <a:buChar char="•"/>
            </a:pPr>
            <a:r>
              <a:rPr lang="en-US" dirty="0"/>
              <a:t>Details</a:t>
            </a:r>
          </a:p>
          <a:p>
            <a:pPr marL="285750" indent="-285750">
              <a:buFont typeface="Arial" panose="020B0604020202020204" pitchFamily="34" charset="0"/>
              <a:buChar char="•"/>
            </a:pPr>
            <a:r>
              <a:rPr lang="en-US" dirty="0"/>
              <a:t>Activity</a:t>
            </a:r>
          </a:p>
          <a:p>
            <a:pPr marL="285750" indent="-285750">
              <a:buFont typeface="Arial" panose="020B0604020202020204" pitchFamily="34" charset="0"/>
              <a:buChar char="•"/>
            </a:pPr>
            <a:r>
              <a:rPr lang="en-US" dirty="0"/>
              <a:t>Approvals</a:t>
            </a:r>
          </a:p>
          <a:p>
            <a:pPr marL="285750" indent="-285750">
              <a:buFont typeface="Arial" panose="020B0604020202020204" pitchFamily="34" charset="0"/>
              <a:buChar char="•"/>
            </a:pPr>
            <a:r>
              <a:rPr lang="en-US" dirty="0"/>
              <a:t>Job Description</a:t>
            </a:r>
          </a:p>
          <a:p>
            <a:pPr marL="285750" indent="-285750">
              <a:buFont typeface="Arial" panose="020B0604020202020204" pitchFamily="34" charset="0"/>
              <a:buChar char="•"/>
            </a:pPr>
            <a:r>
              <a:rPr lang="en-US" dirty="0"/>
              <a:t>Applications</a:t>
            </a:r>
          </a:p>
          <a:p>
            <a:pPr marL="285750" indent="-285750">
              <a:buFont typeface="Arial" panose="020B0604020202020204" pitchFamily="34" charset="0"/>
              <a:buChar char="•"/>
            </a:pPr>
            <a:r>
              <a:rPr lang="en-US" dirty="0"/>
              <a:t>Interview phases</a:t>
            </a:r>
          </a:p>
        </p:txBody>
      </p:sp>
      <p:pic>
        <p:nvPicPr>
          <p:cNvPr id="2" name="Picture 1">
            <a:extLst>
              <a:ext uri="{FF2B5EF4-FFF2-40B4-BE49-F238E27FC236}">
                <a16:creationId xmlns:a16="http://schemas.microsoft.com/office/drawing/2014/main" id="{D6DE059E-A377-1F34-85F4-BB44F2AABC1A}"/>
              </a:ext>
            </a:extLst>
          </p:cNvPr>
          <p:cNvPicPr>
            <a:picLocks noChangeAspect="1"/>
          </p:cNvPicPr>
          <p:nvPr/>
        </p:nvPicPr>
        <p:blipFill>
          <a:blip r:embed="rId2"/>
          <a:stretch>
            <a:fillRect/>
          </a:stretch>
        </p:blipFill>
        <p:spPr>
          <a:xfrm>
            <a:off x="4648201" y="1701526"/>
            <a:ext cx="7119936" cy="4524522"/>
          </a:xfrm>
          <a:prstGeom prst="rect">
            <a:avLst/>
          </a:prstGeom>
        </p:spPr>
      </p:pic>
    </p:spTree>
    <p:extLst>
      <p:ext uri="{BB962C8B-B14F-4D97-AF65-F5344CB8AC3E}">
        <p14:creationId xmlns:p14="http://schemas.microsoft.com/office/powerpoint/2010/main" val="34491950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33886-136F-D1AD-77A9-A5E60C1E4EB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1F3EF54-184D-C78C-0257-453888AB0823}"/>
              </a:ext>
            </a:extLst>
          </p:cNvPr>
          <p:cNvSpPr>
            <a:spLocks noGrp="1"/>
          </p:cNvSpPr>
          <p:nvPr>
            <p:ph type="title"/>
          </p:nvPr>
        </p:nvSpPr>
        <p:spPr/>
        <p:txBody>
          <a:bodyPr/>
          <a:lstStyle/>
          <a:p>
            <a:r>
              <a:rPr lang="en-US" dirty="0"/>
              <a:t>Scheduling windows request</a:t>
            </a:r>
          </a:p>
        </p:txBody>
      </p:sp>
      <p:sp>
        <p:nvSpPr>
          <p:cNvPr id="9" name="Text Placeholder 8">
            <a:extLst>
              <a:ext uri="{FF2B5EF4-FFF2-40B4-BE49-F238E27FC236}">
                <a16:creationId xmlns:a16="http://schemas.microsoft.com/office/drawing/2014/main" id="{D12A2AC5-BD6D-64BC-739C-9CD26D122D61}"/>
              </a:ext>
            </a:extLst>
          </p:cNvPr>
          <p:cNvSpPr>
            <a:spLocks noGrp="1"/>
          </p:cNvSpPr>
          <p:nvPr>
            <p:ph type="subTitle" idx="13"/>
          </p:nvPr>
        </p:nvSpPr>
        <p:spPr/>
        <p:txBody>
          <a:bodyPr/>
          <a:lstStyle/>
          <a:p>
            <a:r>
              <a:rPr lang="en-US" dirty="0"/>
              <a:t>Email to applicant</a:t>
            </a:r>
          </a:p>
        </p:txBody>
      </p:sp>
      <p:sp>
        <p:nvSpPr>
          <p:cNvPr id="12" name="Content Placeholder 11">
            <a:extLst>
              <a:ext uri="{FF2B5EF4-FFF2-40B4-BE49-F238E27FC236}">
                <a16:creationId xmlns:a16="http://schemas.microsoft.com/office/drawing/2014/main" id="{C1F6CF26-B239-396F-5191-6E98E9E5830C}"/>
              </a:ext>
            </a:extLst>
          </p:cNvPr>
          <p:cNvSpPr>
            <a:spLocks noGrp="1"/>
          </p:cNvSpPr>
          <p:nvPr>
            <p:ph type="body" sz="quarter" idx="16"/>
          </p:nvPr>
        </p:nvSpPr>
        <p:spPr>
          <a:xfrm>
            <a:off x="544830" y="1955800"/>
            <a:ext cx="3205698" cy="4270248"/>
          </a:xfrm>
        </p:spPr>
        <p:txBody>
          <a:bodyPr/>
          <a:lstStyle/>
          <a:p>
            <a:r>
              <a:rPr lang="en-US" dirty="0"/>
              <a:t>The recruiter can request applicant availability for interviews, which sends an email to the applicant, directing them to the Applicant Center where they can share their scheduling preferences. </a:t>
            </a:r>
          </a:p>
        </p:txBody>
      </p:sp>
      <p:grpSp>
        <p:nvGrpSpPr>
          <p:cNvPr id="5" name="Group 4">
            <a:extLst>
              <a:ext uri="{FF2B5EF4-FFF2-40B4-BE49-F238E27FC236}">
                <a16:creationId xmlns:a16="http://schemas.microsoft.com/office/drawing/2014/main" id="{514078F2-B588-0FA6-09BD-8B4976F23E2D}"/>
              </a:ext>
            </a:extLst>
          </p:cNvPr>
          <p:cNvGrpSpPr/>
          <p:nvPr/>
        </p:nvGrpSpPr>
        <p:grpSpPr>
          <a:xfrm>
            <a:off x="3908958" y="1555432"/>
            <a:ext cx="7722655" cy="4670616"/>
            <a:chOff x="3908958" y="1555432"/>
            <a:chExt cx="8064375" cy="5093350"/>
          </a:xfrm>
        </p:grpSpPr>
        <p:pic>
          <p:nvPicPr>
            <p:cNvPr id="3" name="Picture 2">
              <a:extLst>
                <a:ext uri="{FF2B5EF4-FFF2-40B4-BE49-F238E27FC236}">
                  <a16:creationId xmlns:a16="http://schemas.microsoft.com/office/drawing/2014/main" id="{8AD79EAF-541D-6E87-B4FC-83D9B78D6F16}"/>
                </a:ext>
              </a:extLst>
            </p:cNvPr>
            <p:cNvPicPr>
              <a:picLocks noChangeAspect="1"/>
            </p:cNvPicPr>
            <p:nvPr/>
          </p:nvPicPr>
          <p:blipFill>
            <a:blip r:embed="rId3"/>
            <a:stretch>
              <a:fillRect/>
            </a:stretch>
          </p:blipFill>
          <p:spPr>
            <a:xfrm>
              <a:off x="3908958" y="1555432"/>
              <a:ext cx="5647109" cy="4465543"/>
            </a:xfrm>
            <a:prstGeom prst="rect">
              <a:avLst/>
            </a:prstGeom>
            <a:ln>
              <a:solidFill>
                <a:schemeClr val="tx1"/>
              </a:solidFill>
            </a:ln>
          </p:spPr>
        </p:pic>
        <p:pic>
          <p:nvPicPr>
            <p:cNvPr id="2" name="Picture 1">
              <a:extLst>
                <a:ext uri="{FF2B5EF4-FFF2-40B4-BE49-F238E27FC236}">
                  <a16:creationId xmlns:a16="http://schemas.microsoft.com/office/drawing/2014/main" id="{69040805-4D12-66DE-93ED-57A1B20DA8CB}"/>
                </a:ext>
              </a:extLst>
            </p:cNvPr>
            <p:cNvPicPr>
              <a:picLocks noChangeAspect="1"/>
            </p:cNvPicPr>
            <p:nvPr/>
          </p:nvPicPr>
          <p:blipFill>
            <a:blip r:embed="rId4"/>
            <a:stretch>
              <a:fillRect/>
            </a:stretch>
          </p:blipFill>
          <p:spPr>
            <a:xfrm>
              <a:off x="8438297" y="2764971"/>
              <a:ext cx="3535036" cy="3883811"/>
            </a:xfrm>
            <a:prstGeom prst="rect">
              <a:avLst/>
            </a:prstGeom>
            <a:ln>
              <a:solidFill>
                <a:schemeClr val="tx1"/>
              </a:solidFill>
            </a:ln>
          </p:spPr>
        </p:pic>
      </p:grpSp>
    </p:spTree>
    <p:extLst>
      <p:ext uri="{BB962C8B-B14F-4D97-AF65-F5344CB8AC3E}">
        <p14:creationId xmlns:p14="http://schemas.microsoft.com/office/powerpoint/2010/main" val="23426190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F41F0-B053-81FB-0324-D158505470B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5CD077-90EC-2D52-AC0B-AB9ADC19F4B1}"/>
              </a:ext>
            </a:extLst>
          </p:cNvPr>
          <p:cNvSpPr>
            <a:spLocks noGrp="1"/>
          </p:cNvSpPr>
          <p:nvPr>
            <p:ph type="title"/>
          </p:nvPr>
        </p:nvSpPr>
        <p:spPr/>
        <p:txBody>
          <a:bodyPr/>
          <a:lstStyle/>
          <a:p>
            <a:r>
              <a:rPr lang="en-US" dirty="0"/>
              <a:t>Applicant scheduling preferences</a:t>
            </a:r>
          </a:p>
        </p:txBody>
      </p:sp>
      <p:sp>
        <p:nvSpPr>
          <p:cNvPr id="9" name="Text Placeholder 8">
            <a:extLst>
              <a:ext uri="{FF2B5EF4-FFF2-40B4-BE49-F238E27FC236}">
                <a16:creationId xmlns:a16="http://schemas.microsoft.com/office/drawing/2014/main" id="{94382974-1F1E-C1B1-34D2-BBC361289B20}"/>
              </a:ext>
            </a:extLst>
          </p:cNvPr>
          <p:cNvSpPr>
            <a:spLocks noGrp="1"/>
          </p:cNvSpPr>
          <p:nvPr>
            <p:ph type="subTitle" idx="13"/>
          </p:nvPr>
        </p:nvSpPr>
        <p:spPr/>
        <p:txBody>
          <a:bodyPr/>
          <a:lstStyle/>
          <a:p>
            <a:r>
              <a:rPr lang="en-US" dirty="0"/>
              <a:t>Applicant Center</a:t>
            </a:r>
          </a:p>
        </p:txBody>
      </p:sp>
      <p:sp>
        <p:nvSpPr>
          <p:cNvPr id="12" name="Content Placeholder 11">
            <a:extLst>
              <a:ext uri="{FF2B5EF4-FFF2-40B4-BE49-F238E27FC236}">
                <a16:creationId xmlns:a16="http://schemas.microsoft.com/office/drawing/2014/main" id="{0002C37A-184F-3F77-BDEF-27E5F6E21353}"/>
              </a:ext>
            </a:extLst>
          </p:cNvPr>
          <p:cNvSpPr>
            <a:spLocks noGrp="1"/>
          </p:cNvSpPr>
          <p:nvPr>
            <p:ph type="body" sz="quarter" idx="16"/>
          </p:nvPr>
        </p:nvSpPr>
        <p:spPr>
          <a:xfrm>
            <a:off x="544830" y="1955800"/>
            <a:ext cx="4712472" cy="4270248"/>
          </a:xfrm>
        </p:spPr>
        <p:txBody>
          <a:bodyPr/>
          <a:lstStyle/>
          <a:p>
            <a:r>
              <a:rPr lang="en-US" dirty="0"/>
              <a:t>The applicant can share their scheduling preferences for the upcoming interview directly on Applicant Center. </a:t>
            </a:r>
          </a:p>
        </p:txBody>
      </p:sp>
      <p:pic>
        <p:nvPicPr>
          <p:cNvPr id="2" name="Picture 1">
            <a:extLst>
              <a:ext uri="{FF2B5EF4-FFF2-40B4-BE49-F238E27FC236}">
                <a16:creationId xmlns:a16="http://schemas.microsoft.com/office/drawing/2014/main" id="{9A4A4B8F-EBA1-751B-F674-BF12849509D8}"/>
              </a:ext>
            </a:extLst>
          </p:cNvPr>
          <p:cNvPicPr>
            <a:picLocks noChangeAspect="1"/>
          </p:cNvPicPr>
          <p:nvPr/>
        </p:nvPicPr>
        <p:blipFill>
          <a:blip r:embed="rId2"/>
          <a:stretch>
            <a:fillRect/>
          </a:stretch>
        </p:blipFill>
        <p:spPr>
          <a:xfrm>
            <a:off x="5388429" y="1691640"/>
            <a:ext cx="6117772" cy="4716246"/>
          </a:xfrm>
          <a:prstGeom prst="rect">
            <a:avLst/>
          </a:prstGeom>
        </p:spPr>
      </p:pic>
    </p:spTree>
    <p:extLst>
      <p:ext uri="{BB962C8B-B14F-4D97-AF65-F5344CB8AC3E}">
        <p14:creationId xmlns:p14="http://schemas.microsoft.com/office/powerpoint/2010/main" val="28897077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F5714-AA77-8336-A0A7-5ED0EF7AE42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28E57AA-408F-BB2E-88A9-6CDBA2AC938F}"/>
              </a:ext>
            </a:extLst>
          </p:cNvPr>
          <p:cNvSpPr>
            <a:spLocks noGrp="1"/>
          </p:cNvSpPr>
          <p:nvPr>
            <p:ph type="title"/>
          </p:nvPr>
        </p:nvSpPr>
        <p:spPr/>
        <p:txBody>
          <a:bodyPr/>
          <a:lstStyle/>
          <a:p>
            <a:r>
              <a:rPr lang="en-US" dirty="0"/>
              <a:t>Provide interview feedback</a:t>
            </a:r>
          </a:p>
        </p:txBody>
      </p:sp>
      <p:sp>
        <p:nvSpPr>
          <p:cNvPr id="9" name="Text Placeholder 8">
            <a:extLst>
              <a:ext uri="{FF2B5EF4-FFF2-40B4-BE49-F238E27FC236}">
                <a16:creationId xmlns:a16="http://schemas.microsoft.com/office/drawing/2014/main" id="{5629EDAB-8443-86CF-DF65-6F0ED10E2616}"/>
              </a:ext>
            </a:extLst>
          </p:cNvPr>
          <p:cNvSpPr>
            <a:spLocks noGrp="1"/>
          </p:cNvSpPr>
          <p:nvPr>
            <p:ph type="subTitle" idx="13"/>
          </p:nvPr>
        </p:nvSpPr>
        <p:spPr/>
        <p:txBody>
          <a:bodyPr/>
          <a:lstStyle/>
          <a:p>
            <a:r>
              <a:rPr lang="en-US" dirty="0"/>
              <a:t>Interviewers / Hiring managers</a:t>
            </a:r>
          </a:p>
        </p:txBody>
      </p:sp>
      <p:sp>
        <p:nvSpPr>
          <p:cNvPr id="12" name="Content Placeholder 11">
            <a:extLst>
              <a:ext uri="{FF2B5EF4-FFF2-40B4-BE49-F238E27FC236}">
                <a16:creationId xmlns:a16="http://schemas.microsoft.com/office/drawing/2014/main" id="{8920BA7F-5F47-1097-2DFF-50D85C89C871}"/>
              </a:ext>
            </a:extLst>
          </p:cNvPr>
          <p:cNvSpPr>
            <a:spLocks noGrp="1"/>
          </p:cNvSpPr>
          <p:nvPr>
            <p:ph type="body" sz="quarter" idx="16"/>
          </p:nvPr>
        </p:nvSpPr>
        <p:spPr>
          <a:xfrm>
            <a:off x="544830" y="1955800"/>
            <a:ext cx="2233094" cy="4270248"/>
          </a:xfrm>
        </p:spPr>
        <p:txBody>
          <a:bodyPr/>
          <a:lstStyle/>
          <a:p>
            <a:r>
              <a:rPr lang="en-US" dirty="0"/>
              <a:t>Hiring managers and other interviewers provide feedback on the applicant after the interview.</a:t>
            </a:r>
          </a:p>
        </p:txBody>
      </p:sp>
      <p:pic>
        <p:nvPicPr>
          <p:cNvPr id="2" name="Picture 1">
            <a:extLst>
              <a:ext uri="{FF2B5EF4-FFF2-40B4-BE49-F238E27FC236}">
                <a16:creationId xmlns:a16="http://schemas.microsoft.com/office/drawing/2014/main" id="{BA5313A8-76C4-35CF-33B1-8175176D2063}"/>
              </a:ext>
            </a:extLst>
          </p:cNvPr>
          <p:cNvPicPr>
            <a:picLocks noChangeAspect="1"/>
          </p:cNvPicPr>
          <p:nvPr/>
        </p:nvPicPr>
        <p:blipFill>
          <a:blip r:embed="rId2"/>
          <a:stretch>
            <a:fillRect/>
          </a:stretch>
        </p:blipFill>
        <p:spPr>
          <a:xfrm>
            <a:off x="3113586" y="2121609"/>
            <a:ext cx="5976936" cy="3425223"/>
          </a:xfrm>
          <a:prstGeom prst="rect">
            <a:avLst/>
          </a:prstGeom>
        </p:spPr>
      </p:pic>
      <p:pic>
        <p:nvPicPr>
          <p:cNvPr id="3" name="Picture 2">
            <a:extLst>
              <a:ext uri="{FF2B5EF4-FFF2-40B4-BE49-F238E27FC236}">
                <a16:creationId xmlns:a16="http://schemas.microsoft.com/office/drawing/2014/main" id="{E75DC0D1-BF3A-B333-2C83-1DA7745B8DDB}"/>
              </a:ext>
            </a:extLst>
          </p:cNvPr>
          <p:cNvPicPr>
            <a:picLocks noChangeAspect="1"/>
          </p:cNvPicPr>
          <p:nvPr/>
        </p:nvPicPr>
        <p:blipFill>
          <a:blip r:embed="rId3"/>
          <a:stretch>
            <a:fillRect/>
          </a:stretch>
        </p:blipFill>
        <p:spPr>
          <a:xfrm>
            <a:off x="7239000" y="1445704"/>
            <a:ext cx="4242254" cy="4777035"/>
          </a:xfrm>
          <a:prstGeom prst="rect">
            <a:avLst/>
          </a:prstGeom>
        </p:spPr>
      </p:pic>
    </p:spTree>
    <p:extLst>
      <p:ext uri="{BB962C8B-B14F-4D97-AF65-F5344CB8AC3E}">
        <p14:creationId xmlns:p14="http://schemas.microsoft.com/office/powerpoint/2010/main" val="140354872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D5A1B-3F0A-F531-3EA5-407464B11EC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BD9E094-69DC-75F1-CCAC-8A6179BEBF7D}"/>
              </a:ext>
            </a:extLst>
          </p:cNvPr>
          <p:cNvSpPr>
            <a:spLocks noGrp="1"/>
          </p:cNvSpPr>
          <p:nvPr>
            <p:ph type="title"/>
          </p:nvPr>
        </p:nvSpPr>
        <p:spPr/>
        <p:txBody>
          <a:bodyPr/>
          <a:lstStyle/>
          <a:p>
            <a:r>
              <a:rPr lang="en-US" dirty="0"/>
              <a:t>Compare applications</a:t>
            </a:r>
          </a:p>
        </p:txBody>
      </p:sp>
      <p:sp>
        <p:nvSpPr>
          <p:cNvPr id="9" name="Text Placeholder 8">
            <a:extLst>
              <a:ext uri="{FF2B5EF4-FFF2-40B4-BE49-F238E27FC236}">
                <a16:creationId xmlns:a16="http://schemas.microsoft.com/office/drawing/2014/main" id="{B13840C6-DBB3-0680-369A-4934AF970ED2}"/>
              </a:ext>
            </a:extLst>
          </p:cNvPr>
          <p:cNvSpPr>
            <a:spLocks noGrp="1"/>
          </p:cNvSpPr>
          <p:nvPr>
            <p:ph type="subTitle" idx="13"/>
          </p:nvPr>
        </p:nvSpPr>
        <p:spPr/>
        <p:txBody>
          <a:bodyPr/>
          <a:lstStyle/>
          <a:p>
            <a:r>
              <a:rPr lang="en-US" dirty="0"/>
              <a:t>Hiring Manager</a:t>
            </a:r>
          </a:p>
        </p:txBody>
      </p:sp>
      <p:sp>
        <p:nvSpPr>
          <p:cNvPr id="12" name="Content Placeholder 11">
            <a:extLst>
              <a:ext uri="{FF2B5EF4-FFF2-40B4-BE49-F238E27FC236}">
                <a16:creationId xmlns:a16="http://schemas.microsoft.com/office/drawing/2014/main" id="{34802C23-982A-0A86-5B83-3973F5986575}"/>
              </a:ext>
            </a:extLst>
          </p:cNvPr>
          <p:cNvSpPr>
            <a:spLocks noGrp="1"/>
          </p:cNvSpPr>
          <p:nvPr>
            <p:ph type="body" sz="quarter" idx="16"/>
          </p:nvPr>
        </p:nvSpPr>
        <p:spPr>
          <a:xfrm>
            <a:off x="544830" y="1955800"/>
            <a:ext cx="3656780" cy="4270248"/>
          </a:xfrm>
        </p:spPr>
        <p:txBody>
          <a:bodyPr/>
          <a:lstStyle/>
          <a:p>
            <a:r>
              <a:rPr lang="en-US" dirty="0"/>
              <a:t>From a requisition on the Hiring tab, the Hiring Manager can view all applications for the role and compare applications for full visibility.</a:t>
            </a:r>
          </a:p>
          <a:p>
            <a:endParaRPr lang="en-US" dirty="0"/>
          </a:p>
          <a:p>
            <a:endParaRPr lang="en-US" dirty="0"/>
          </a:p>
        </p:txBody>
      </p:sp>
      <p:pic>
        <p:nvPicPr>
          <p:cNvPr id="2" name="Picture 1">
            <a:extLst>
              <a:ext uri="{FF2B5EF4-FFF2-40B4-BE49-F238E27FC236}">
                <a16:creationId xmlns:a16="http://schemas.microsoft.com/office/drawing/2014/main" id="{AC927210-1D5B-9202-D8DE-E2FF9375422B}"/>
              </a:ext>
            </a:extLst>
          </p:cNvPr>
          <p:cNvPicPr>
            <a:picLocks noChangeAspect="1"/>
          </p:cNvPicPr>
          <p:nvPr/>
        </p:nvPicPr>
        <p:blipFill>
          <a:blip r:embed="rId2"/>
          <a:stretch>
            <a:fillRect/>
          </a:stretch>
        </p:blipFill>
        <p:spPr>
          <a:xfrm>
            <a:off x="4511677" y="1701526"/>
            <a:ext cx="7119936" cy="4524522"/>
          </a:xfrm>
          <a:prstGeom prst="rect">
            <a:avLst/>
          </a:prstGeom>
        </p:spPr>
      </p:pic>
      <p:sp>
        <p:nvSpPr>
          <p:cNvPr id="3" name="Rectangle 2">
            <a:extLst>
              <a:ext uri="{FF2B5EF4-FFF2-40B4-BE49-F238E27FC236}">
                <a16:creationId xmlns:a16="http://schemas.microsoft.com/office/drawing/2014/main" id="{3F3DB275-E790-A4F3-3468-B6A658B63F7C}"/>
              </a:ext>
            </a:extLst>
          </p:cNvPr>
          <p:cNvSpPr/>
          <p:nvPr/>
        </p:nvSpPr>
        <p:spPr>
          <a:xfrm>
            <a:off x="10172247" y="3083291"/>
            <a:ext cx="1222716" cy="3457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348901923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FD927-A6B2-3F0A-6687-47323E9FEFF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BAE9317-9948-458C-3653-2933D91DF20D}"/>
              </a:ext>
            </a:extLst>
          </p:cNvPr>
          <p:cNvPicPr>
            <a:picLocks noChangeAspect="1"/>
          </p:cNvPicPr>
          <p:nvPr/>
        </p:nvPicPr>
        <p:blipFill>
          <a:blip r:embed="rId2"/>
          <a:stretch>
            <a:fillRect/>
          </a:stretch>
        </p:blipFill>
        <p:spPr>
          <a:xfrm>
            <a:off x="4805544" y="1810766"/>
            <a:ext cx="6733314" cy="4560316"/>
          </a:xfrm>
          <a:prstGeom prst="rect">
            <a:avLst/>
          </a:prstGeom>
        </p:spPr>
      </p:pic>
      <p:sp>
        <p:nvSpPr>
          <p:cNvPr id="4" name="Title 3">
            <a:extLst>
              <a:ext uri="{FF2B5EF4-FFF2-40B4-BE49-F238E27FC236}">
                <a16:creationId xmlns:a16="http://schemas.microsoft.com/office/drawing/2014/main" id="{86C97AF5-396B-8B15-E176-57E4077627CD}"/>
              </a:ext>
            </a:extLst>
          </p:cNvPr>
          <p:cNvSpPr>
            <a:spLocks noGrp="1"/>
          </p:cNvSpPr>
          <p:nvPr>
            <p:ph type="title"/>
          </p:nvPr>
        </p:nvSpPr>
        <p:spPr>
          <a:xfrm>
            <a:off x="548640" y="530352"/>
            <a:ext cx="11082973" cy="594360"/>
          </a:xfrm>
        </p:spPr>
        <p:txBody>
          <a:bodyPr/>
          <a:lstStyle/>
          <a:p>
            <a:r>
              <a:rPr lang="en-US" dirty="0"/>
              <a:t>Compare applications</a:t>
            </a:r>
          </a:p>
        </p:txBody>
      </p:sp>
      <p:sp>
        <p:nvSpPr>
          <p:cNvPr id="9" name="Text Placeholder 8">
            <a:extLst>
              <a:ext uri="{FF2B5EF4-FFF2-40B4-BE49-F238E27FC236}">
                <a16:creationId xmlns:a16="http://schemas.microsoft.com/office/drawing/2014/main" id="{0F3EFE8B-8A55-3B5D-D629-93E337BF8DCD}"/>
              </a:ext>
            </a:extLst>
          </p:cNvPr>
          <p:cNvSpPr>
            <a:spLocks noGrp="1"/>
          </p:cNvSpPr>
          <p:nvPr>
            <p:ph type="subTitle" idx="13"/>
          </p:nvPr>
        </p:nvSpPr>
        <p:spPr>
          <a:xfrm>
            <a:off x="548640" y="1097280"/>
            <a:ext cx="11088688" cy="696849"/>
          </a:xfrm>
        </p:spPr>
        <p:txBody>
          <a:bodyPr/>
          <a:lstStyle/>
          <a:p>
            <a:r>
              <a:rPr lang="en-US" dirty="0"/>
              <a:t>Hiring Manager</a:t>
            </a:r>
          </a:p>
        </p:txBody>
      </p:sp>
      <p:sp>
        <p:nvSpPr>
          <p:cNvPr id="12" name="Content Placeholder 11">
            <a:extLst>
              <a:ext uri="{FF2B5EF4-FFF2-40B4-BE49-F238E27FC236}">
                <a16:creationId xmlns:a16="http://schemas.microsoft.com/office/drawing/2014/main" id="{4EA057FB-5BAE-ECB5-46A5-243D06CFC43D}"/>
              </a:ext>
            </a:extLst>
          </p:cNvPr>
          <p:cNvSpPr>
            <a:spLocks noGrp="1"/>
          </p:cNvSpPr>
          <p:nvPr>
            <p:ph type="body" sz="quarter" idx="16"/>
          </p:nvPr>
        </p:nvSpPr>
        <p:spPr>
          <a:xfrm>
            <a:off x="544830" y="1955800"/>
            <a:ext cx="4070713" cy="4270248"/>
          </a:xfrm>
        </p:spPr>
        <p:txBody>
          <a:bodyPr/>
          <a:lstStyle/>
          <a:p>
            <a:r>
              <a:rPr lang="en-US" dirty="0"/>
              <a:t>The Hiring Manager can view feedback and ratings for the applications selected, ensuring that information is compared fairly and accurately. </a:t>
            </a:r>
          </a:p>
        </p:txBody>
      </p:sp>
    </p:spTree>
    <p:extLst>
      <p:ext uri="{BB962C8B-B14F-4D97-AF65-F5344CB8AC3E}">
        <p14:creationId xmlns:p14="http://schemas.microsoft.com/office/powerpoint/2010/main" val="367038068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F9A08-1E83-BA77-22AC-B2E0D0F1E1A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DC0452E-332F-9E1D-20C8-CA79D3531535}"/>
              </a:ext>
            </a:extLst>
          </p:cNvPr>
          <p:cNvSpPr>
            <a:spLocks noGrp="1"/>
          </p:cNvSpPr>
          <p:nvPr>
            <p:ph type="title"/>
          </p:nvPr>
        </p:nvSpPr>
        <p:spPr>
          <a:prstGeom prst="rect">
            <a:avLst/>
          </a:prstGeom>
        </p:spPr>
        <p:txBody>
          <a:bodyPr/>
          <a:lstStyle/>
          <a:p>
            <a:r>
              <a:rPr lang="en-US" dirty="0"/>
              <a:t>FAQs</a:t>
            </a:r>
          </a:p>
        </p:txBody>
      </p:sp>
      <p:sp>
        <p:nvSpPr>
          <p:cNvPr id="6" name="Subtitle 5">
            <a:extLst>
              <a:ext uri="{FF2B5EF4-FFF2-40B4-BE49-F238E27FC236}">
                <a16:creationId xmlns:a16="http://schemas.microsoft.com/office/drawing/2014/main" id="{673B4F8E-B216-0553-9BEC-7DBE135CDED8}"/>
              </a:ext>
            </a:extLst>
          </p:cNvPr>
          <p:cNvSpPr>
            <a:spLocks noGrp="1"/>
          </p:cNvSpPr>
          <p:nvPr>
            <p:ph type="subTitle" idx="13"/>
          </p:nvPr>
        </p:nvSpPr>
        <p:spPr>
          <a:prstGeom prst="rect">
            <a:avLst/>
          </a:prstGeom>
        </p:spPr>
        <p:txBody>
          <a:bodyPr/>
          <a:lstStyle/>
          <a:p>
            <a:r>
              <a:rPr lang="en-US" b="1" dirty="0"/>
              <a:t>PLEASE REMOVE THIS SLIDE BEFORE PRESENTING</a:t>
            </a:r>
          </a:p>
        </p:txBody>
      </p:sp>
      <p:sp>
        <p:nvSpPr>
          <p:cNvPr id="7" name="Text Placeholder 6">
            <a:extLst>
              <a:ext uri="{FF2B5EF4-FFF2-40B4-BE49-F238E27FC236}">
                <a16:creationId xmlns:a16="http://schemas.microsoft.com/office/drawing/2014/main" id="{AA6461C8-61C2-BAE4-1FF3-EDD72AEA2FBF}"/>
              </a:ext>
            </a:extLst>
          </p:cNvPr>
          <p:cNvSpPr>
            <a:spLocks noGrp="1"/>
          </p:cNvSpPr>
          <p:nvPr>
            <p:ph type="body" sz="quarter" idx="16"/>
          </p:nvPr>
        </p:nvSpPr>
        <p:spPr>
          <a:prstGeom prst="rect">
            <a:avLst/>
          </a:prstGeom>
        </p:spPr>
        <p:txBody>
          <a:bodyPr/>
          <a:lstStyle/>
          <a:p>
            <a:pPr marL="285664" indent="-285664">
              <a:buFont typeface="Arial" panose="020B0604020202020204" pitchFamily="34" charset="0"/>
              <a:buChar char="•"/>
            </a:pPr>
            <a:r>
              <a:rPr lang="en-US" b="1" dirty="0"/>
              <a:t>How can I provide feedback on this asset or other parts of the Best Practices portal?</a:t>
            </a:r>
            <a:r>
              <a:rPr lang="en-US" dirty="0"/>
              <a:t> The </a:t>
            </a:r>
            <a:r>
              <a:rPr lang="en-US" dirty="0">
                <a:solidFill>
                  <a:srgbClr val="005F1E"/>
                </a:solidFill>
                <a:hlinkClick r:id="rId2">
                  <a:extLst>
                    <a:ext uri="{A12FA001-AC4F-418D-AE19-62706E023703}">
                      <ahyp:hlinkClr xmlns:ahyp="http://schemas.microsoft.com/office/drawing/2018/hyperlinkcolor" val="tx"/>
                    </a:ext>
                  </a:extLst>
                </a:hlinkClick>
              </a:rPr>
              <a:t>Best Practices</a:t>
            </a:r>
            <a:r>
              <a:rPr lang="en-US" dirty="0"/>
              <a:t> portal has several feedback buttons throughout; you can submit feedback using the thumbs up/thumbs down buttons. Click on those icons, and a small form will appear for you to leave specific feedback regarding the asset you are accessing.</a:t>
            </a:r>
          </a:p>
          <a:p>
            <a:pPr marL="285664" indent="-285664">
              <a:buFont typeface="Arial" panose="020B0604020202020204" pitchFamily="34" charset="0"/>
              <a:buChar char="•"/>
            </a:pPr>
            <a:r>
              <a:rPr lang="en-US" b="1" dirty="0"/>
              <a:t>If we use this deck or slides from this deck, are we breaking any copyright? </a:t>
            </a:r>
            <a:r>
              <a:rPr lang="en-US" dirty="0"/>
              <a:t>No. We designed this deck to be used by our whole ecosystem.</a:t>
            </a:r>
          </a:p>
          <a:p>
            <a:pPr marL="285664" indent="-285664">
              <a:buFont typeface="Arial" panose="020B0604020202020204" pitchFamily="34" charset="0"/>
              <a:buChar char="•"/>
            </a:pPr>
            <a:r>
              <a:rPr lang="en-US" b="1" dirty="0"/>
              <a:t>What should I do if I don’t need all the content contained within this, or other assets? </a:t>
            </a:r>
            <a:r>
              <a:rPr lang="en-US" dirty="0"/>
              <a:t>You can either hide or delete the slide(s). You may also want to move the slide(s) to the end of the presentation, review it when you have finished updating the asset for your own use, and then deleting any content you don’t need. Remember to regularly check the Best Practices portal to make sure you have the most up-to-date asset.</a:t>
            </a:r>
          </a:p>
        </p:txBody>
      </p:sp>
    </p:spTree>
    <p:extLst>
      <p:ext uri="{BB962C8B-B14F-4D97-AF65-F5344CB8AC3E}">
        <p14:creationId xmlns:p14="http://schemas.microsoft.com/office/powerpoint/2010/main" val="11456502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84835-38C6-12D5-745C-12FF2AC4F4D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7043EF2-1203-B9BB-F2E8-E3E07ADDAF9D}"/>
              </a:ext>
            </a:extLst>
          </p:cNvPr>
          <p:cNvSpPr>
            <a:spLocks noGrp="1"/>
          </p:cNvSpPr>
          <p:nvPr>
            <p:ph type="title"/>
          </p:nvPr>
        </p:nvSpPr>
        <p:spPr>
          <a:xfrm>
            <a:off x="548640" y="530352"/>
            <a:ext cx="11082973" cy="594360"/>
          </a:xfrm>
        </p:spPr>
        <p:txBody>
          <a:bodyPr/>
          <a:lstStyle/>
          <a:p>
            <a:r>
              <a:rPr lang="en-US" dirty="0"/>
              <a:t>Feedback on an application</a:t>
            </a:r>
          </a:p>
        </p:txBody>
      </p:sp>
      <p:sp>
        <p:nvSpPr>
          <p:cNvPr id="9" name="Text Placeholder 8">
            <a:extLst>
              <a:ext uri="{FF2B5EF4-FFF2-40B4-BE49-F238E27FC236}">
                <a16:creationId xmlns:a16="http://schemas.microsoft.com/office/drawing/2014/main" id="{EE34ED95-5DF7-4D98-E4EC-6B62DB2AF99E}"/>
              </a:ext>
            </a:extLst>
          </p:cNvPr>
          <p:cNvSpPr>
            <a:spLocks noGrp="1"/>
          </p:cNvSpPr>
          <p:nvPr>
            <p:ph type="subTitle" idx="13"/>
          </p:nvPr>
        </p:nvSpPr>
        <p:spPr>
          <a:xfrm>
            <a:off x="548640" y="1097280"/>
            <a:ext cx="11088688" cy="696849"/>
          </a:xfrm>
        </p:spPr>
        <p:txBody>
          <a:bodyPr/>
          <a:lstStyle/>
          <a:p>
            <a:r>
              <a:rPr lang="en-US" dirty="0"/>
              <a:t>Hiring Manager</a:t>
            </a:r>
          </a:p>
        </p:txBody>
      </p:sp>
      <p:sp>
        <p:nvSpPr>
          <p:cNvPr id="12" name="Content Placeholder 11">
            <a:extLst>
              <a:ext uri="{FF2B5EF4-FFF2-40B4-BE49-F238E27FC236}">
                <a16:creationId xmlns:a16="http://schemas.microsoft.com/office/drawing/2014/main" id="{397B675A-0708-916A-EF6D-9706D7E7D819}"/>
              </a:ext>
            </a:extLst>
          </p:cNvPr>
          <p:cNvSpPr>
            <a:spLocks noGrp="1"/>
          </p:cNvSpPr>
          <p:nvPr>
            <p:ph type="body" sz="quarter" idx="16"/>
          </p:nvPr>
        </p:nvSpPr>
        <p:spPr>
          <a:xfrm>
            <a:off x="544830" y="1955800"/>
            <a:ext cx="2892851" cy="4270248"/>
          </a:xfrm>
        </p:spPr>
        <p:txBody>
          <a:bodyPr/>
          <a:lstStyle/>
          <a:p>
            <a:r>
              <a:rPr lang="en-US" dirty="0"/>
              <a:t>Once the Hiring Manager has decided, they can provide feedback on each application.</a:t>
            </a:r>
          </a:p>
        </p:txBody>
      </p:sp>
      <p:pic>
        <p:nvPicPr>
          <p:cNvPr id="2" name="Picture 1">
            <a:extLst>
              <a:ext uri="{FF2B5EF4-FFF2-40B4-BE49-F238E27FC236}">
                <a16:creationId xmlns:a16="http://schemas.microsoft.com/office/drawing/2014/main" id="{62A67908-0391-FF12-FFB1-18D8C53F855A}"/>
              </a:ext>
            </a:extLst>
          </p:cNvPr>
          <p:cNvPicPr>
            <a:picLocks noChangeAspect="1"/>
          </p:cNvPicPr>
          <p:nvPr/>
        </p:nvPicPr>
        <p:blipFill>
          <a:blip r:embed="rId2"/>
          <a:stretch>
            <a:fillRect/>
          </a:stretch>
        </p:blipFill>
        <p:spPr>
          <a:xfrm>
            <a:off x="3859213" y="2176036"/>
            <a:ext cx="7772400" cy="3584684"/>
          </a:xfrm>
          <a:prstGeom prst="rect">
            <a:avLst/>
          </a:prstGeom>
        </p:spPr>
      </p:pic>
    </p:spTree>
    <p:extLst>
      <p:ext uri="{BB962C8B-B14F-4D97-AF65-F5344CB8AC3E}">
        <p14:creationId xmlns:p14="http://schemas.microsoft.com/office/powerpoint/2010/main" val="341206092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6B659-FFAB-673E-9080-2AABEC94A9E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BB316C5-6F70-C38E-FC0C-8C9BF55F34E5}"/>
              </a:ext>
            </a:extLst>
          </p:cNvPr>
          <p:cNvSpPr>
            <a:spLocks noGrp="1"/>
          </p:cNvSpPr>
          <p:nvPr>
            <p:ph type="title"/>
          </p:nvPr>
        </p:nvSpPr>
        <p:spPr>
          <a:xfrm>
            <a:off x="548640" y="530352"/>
            <a:ext cx="11082973" cy="594360"/>
          </a:xfrm>
        </p:spPr>
        <p:txBody>
          <a:bodyPr/>
          <a:lstStyle/>
          <a:p>
            <a:r>
              <a:rPr lang="en-US" dirty="0"/>
              <a:t>Hiring task templates</a:t>
            </a:r>
          </a:p>
        </p:txBody>
      </p:sp>
      <p:sp>
        <p:nvSpPr>
          <p:cNvPr id="9" name="Text Placeholder 8">
            <a:extLst>
              <a:ext uri="{FF2B5EF4-FFF2-40B4-BE49-F238E27FC236}">
                <a16:creationId xmlns:a16="http://schemas.microsoft.com/office/drawing/2014/main" id="{0A371B0B-1B55-E150-7174-70EBCA3D39D4}"/>
              </a:ext>
            </a:extLst>
          </p:cNvPr>
          <p:cNvSpPr>
            <a:spLocks noGrp="1"/>
          </p:cNvSpPr>
          <p:nvPr>
            <p:ph type="subTitle" idx="13"/>
          </p:nvPr>
        </p:nvSpPr>
        <p:spPr>
          <a:xfrm>
            <a:off x="548640" y="1097280"/>
            <a:ext cx="11088688" cy="696849"/>
          </a:xfrm>
        </p:spPr>
        <p:txBody>
          <a:bodyPr/>
          <a:lstStyle/>
          <a:p>
            <a:r>
              <a:rPr lang="en-US" dirty="0"/>
              <a:t>Recruiter</a:t>
            </a:r>
          </a:p>
        </p:txBody>
      </p:sp>
      <p:sp>
        <p:nvSpPr>
          <p:cNvPr id="12" name="Content Placeholder 11">
            <a:extLst>
              <a:ext uri="{FF2B5EF4-FFF2-40B4-BE49-F238E27FC236}">
                <a16:creationId xmlns:a16="http://schemas.microsoft.com/office/drawing/2014/main" id="{0E855E56-A090-AFF8-3F94-E0C4F11A38B7}"/>
              </a:ext>
            </a:extLst>
          </p:cNvPr>
          <p:cNvSpPr>
            <a:spLocks noGrp="1"/>
          </p:cNvSpPr>
          <p:nvPr>
            <p:ph type="body" sz="quarter" idx="16"/>
          </p:nvPr>
        </p:nvSpPr>
        <p:spPr>
          <a:xfrm>
            <a:off x="544831" y="1955800"/>
            <a:ext cx="2522460" cy="4270248"/>
          </a:xfrm>
        </p:spPr>
        <p:txBody>
          <a:bodyPr/>
          <a:lstStyle/>
          <a:p>
            <a:r>
              <a:rPr lang="en-US" dirty="0"/>
              <a:t>Create tasks for applicants or internal stakeholders within the Recruitment workspace and assign it to the respective personas.</a:t>
            </a:r>
          </a:p>
          <a:p>
            <a:pPr>
              <a:buNone/>
            </a:pPr>
            <a:r>
              <a:rPr lang="en-US" dirty="0"/>
              <a:t>For example, use the “Sign Offer Letter” template to offer the job to an applicant.</a:t>
            </a:r>
          </a:p>
          <a:p>
            <a:br>
              <a:rPr lang="en-US" dirty="0"/>
            </a:br>
            <a:endParaRPr lang="en-US" dirty="0">
              <a:effectLst/>
            </a:endParaRPr>
          </a:p>
        </p:txBody>
      </p:sp>
      <p:pic>
        <p:nvPicPr>
          <p:cNvPr id="2" name="Picture 1">
            <a:extLst>
              <a:ext uri="{FF2B5EF4-FFF2-40B4-BE49-F238E27FC236}">
                <a16:creationId xmlns:a16="http://schemas.microsoft.com/office/drawing/2014/main" id="{E7E62C3D-8DC9-22B0-47E1-93E6B437A6CA}"/>
              </a:ext>
            </a:extLst>
          </p:cNvPr>
          <p:cNvPicPr>
            <a:picLocks noChangeAspect="1"/>
          </p:cNvPicPr>
          <p:nvPr/>
        </p:nvPicPr>
        <p:blipFill>
          <a:blip r:embed="rId2"/>
          <a:stretch>
            <a:fillRect/>
          </a:stretch>
        </p:blipFill>
        <p:spPr>
          <a:xfrm>
            <a:off x="3859213" y="1794129"/>
            <a:ext cx="7772400" cy="4358981"/>
          </a:xfrm>
          <a:prstGeom prst="rect">
            <a:avLst/>
          </a:prstGeom>
        </p:spPr>
      </p:pic>
    </p:spTree>
    <p:extLst>
      <p:ext uri="{BB962C8B-B14F-4D97-AF65-F5344CB8AC3E}">
        <p14:creationId xmlns:p14="http://schemas.microsoft.com/office/powerpoint/2010/main" val="397738662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1624E-B849-B208-D9FE-45F85330B53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68996B4-D322-B873-60E0-D07601787E08}"/>
              </a:ext>
            </a:extLst>
          </p:cNvPr>
          <p:cNvSpPr>
            <a:spLocks noGrp="1"/>
          </p:cNvSpPr>
          <p:nvPr>
            <p:ph type="title"/>
          </p:nvPr>
        </p:nvSpPr>
        <p:spPr>
          <a:xfrm>
            <a:off x="548640" y="530352"/>
            <a:ext cx="11082973" cy="594360"/>
          </a:xfrm>
        </p:spPr>
        <p:txBody>
          <a:bodyPr/>
          <a:lstStyle/>
          <a:p>
            <a:r>
              <a:rPr lang="en-US" dirty="0"/>
              <a:t>Hiring task templates</a:t>
            </a:r>
          </a:p>
        </p:txBody>
      </p:sp>
      <p:sp>
        <p:nvSpPr>
          <p:cNvPr id="9" name="Text Placeholder 8">
            <a:extLst>
              <a:ext uri="{FF2B5EF4-FFF2-40B4-BE49-F238E27FC236}">
                <a16:creationId xmlns:a16="http://schemas.microsoft.com/office/drawing/2014/main" id="{0EC6BB48-B1AF-4BD7-E432-7DF0EC29E21C}"/>
              </a:ext>
            </a:extLst>
          </p:cNvPr>
          <p:cNvSpPr>
            <a:spLocks noGrp="1"/>
          </p:cNvSpPr>
          <p:nvPr>
            <p:ph type="subTitle" idx="13"/>
          </p:nvPr>
        </p:nvSpPr>
        <p:spPr>
          <a:xfrm>
            <a:off x="548640" y="1097280"/>
            <a:ext cx="11088688" cy="696849"/>
          </a:xfrm>
        </p:spPr>
        <p:txBody>
          <a:bodyPr/>
          <a:lstStyle/>
          <a:p>
            <a:r>
              <a:rPr lang="en-US" dirty="0"/>
              <a:t>Applicant Center</a:t>
            </a:r>
          </a:p>
        </p:txBody>
      </p:sp>
      <p:sp>
        <p:nvSpPr>
          <p:cNvPr id="12" name="Content Placeholder 11">
            <a:extLst>
              <a:ext uri="{FF2B5EF4-FFF2-40B4-BE49-F238E27FC236}">
                <a16:creationId xmlns:a16="http://schemas.microsoft.com/office/drawing/2014/main" id="{29BB5378-15F6-E4AC-D73C-52696B139AE9}"/>
              </a:ext>
            </a:extLst>
          </p:cNvPr>
          <p:cNvSpPr>
            <a:spLocks noGrp="1"/>
          </p:cNvSpPr>
          <p:nvPr>
            <p:ph type="body" sz="quarter" idx="16"/>
          </p:nvPr>
        </p:nvSpPr>
        <p:spPr>
          <a:xfrm>
            <a:off x="544830" y="1955800"/>
            <a:ext cx="4197689" cy="4270248"/>
          </a:xfrm>
        </p:spPr>
        <p:txBody>
          <a:bodyPr/>
          <a:lstStyle/>
          <a:p>
            <a:r>
              <a:rPr lang="en-US" dirty="0"/>
              <a:t>Applicant can complete their tasks on the Applicant Center.</a:t>
            </a:r>
          </a:p>
        </p:txBody>
      </p:sp>
      <p:pic>
        <p:nvPicPr>
          <p:cNvPr id="2" name="Picture 1">
            <a:extLst>
              <a:ext uri="{FF2B5EF4-FFF2-40B4-BE49-F238E27FC236}">
                <a16:creationId xmlns:a16="http://schemas.microsoft.com/office/drawing/2014/main" id="{1569807E-9834-8407-8E89-29C53FBC69F3}"/>
              </a:ext>
            </a:extLst>
          </p:cNvPr>
          <p:cNvPicPr>
            <a:picLocks noChangeAspect="1"/>
          </p:cNvPicPr>
          <p:nvPr/>
        </p:nvPicPr>
        <p:blipFill>
          <a:blip r:embed="rId2"/>
          <a:stretch>
            <a:fillRect/>
          </a:stretch>
        </p:blipFill>
        <p:spPr>
          <a:xfrm>
            <a:off x="5176410" y="1439303"/>
            <a:ext cx="6455203" cy="4786745"/>
          </a:xfrm>
          <a:prstGeom prst="rect">
            <a:avLst/>
          </a:prstGeom>
        </p:spPr>
      </p:pic>
    </p:spTree>
    <p:extLst>
      <p:ext uri="{BB962C8B-B14F-4D97-AF65-F5344CB8AC3E}">
        <p14:creationId xmlns:p14="http://schemas.microsoft.com/office/powerpoint/2010/main" val="32316159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0187B-F29F-B1F0-3A1E-A8C717570A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9515016-7185-703D-FBDC-32841BF61851}"/>
              </a:ext>
            </a:extLst>
          </p:cNvPr>
          <p:cNvSpPr>
            <a:spLocks noGrp="1"/>
          </p:cNvSpPr>
          <p:nvPr>
            <p:ph type="title"/>
          </p:nvPr>
        </p:nvSpPr>
        <p:spPr>
          <a:xfrm>
            <a:off x="548640" y="530352"/>
            <a:ext cx="11082973" cy="594360"/>
          </a:xfrm>
        </p:spPr>
        <p:txBody>
          <a:bodyPr/>
          <a:lstStyle/>
          <a:p>
            <a:r>
              <a:rPr lang="en-US" dirty="0"/>
              <a:t>Applicant survey</a:t>
            </a:r>
          </a:p>
        </p:txBody>
      </p:sp>
      <p:sp>
        <p:nvSpPr>
          <p:cNvPr id="12" name="Content Placeholder 11">
            <a:extLst>
              <a:ext uri="{FF2B5EF4-FFF2-40B4-BE49-F238E27FC236}">
                <a16:creationId xmlns:a16="http://schemas.microsoft.com/office/drawing/2014/main" id="{9E3EE2C3-48FD-7A2B-8DFA-4E106FB2D918}"/>
              </a:ext>
            </a:extLst>
          </p:cNvPr>
          <p:cNvSpPr>
            <a:spLocks noGrp="1"/>
          </p:cNvSpPr>
          <p:nvPr>
            <p:ph type="body" sz="quarter" idx="16"/>
          </p:nvPr>
        </p:nvSpPr>
        <p:spPr>
          <a:xfrm>
            <a:off x="544831" y="1955800"/>
            <a:ext cx="3657056" cy="4270248"/>
          </a:xfrm>
        </p:spPr>
        <p:txBody>
          <a:bodyPr/>
          <a:lstStyle/>
          <a:p>
            <a:r>
              <a:rPr lang="en-US" dirty="0"/>
              <a:t>Receiving feedback from applicants can improve the hiring process. Applicants can submit feedback using the Applicant Survey on the Applicant Center.</a:t>
            </a:r>
          </a:p>
        </p:txBody>
      </p:sp>
      <p:pic>
        <p:nvPicPr>
          <p:cNvPr id="2" name="Picture 1">
            <a:extLst>
              <a:ext uri="{FF2B5EF4-FFF2-40B4-BE49-F238E27FC236}">
                <a16:creationId xmlns:a16="http://schemas.microsoft.com/office/drawing/2014/main" id="{5610F3D9-964C-C39C-CA65-FB17A375E0DD}"/>
              </a:ext>
            </a:extLst>
          </p:cNvPr>
          <p:cNvPicPr>
            <a:picLocks noChangeAspect="1"/>
          </p:cNvPicPr>
          <p:nvPr/>
        </p:nvPicPr>
        <p:blipFill>
          <a:blip r:embed="rId2"/>
          <a:srcRect l="15397" t="10799" r="14995" b="31415"/>
          <a:stretch>
            <a:fillRect/>
          </a:stretch>
        </p:blipFill>
        <p:spPr>
          <a:xfrm>
            <a:off x="4424865" y="1955800"/>
            <a:ext cx="7219130" cy="3614460"/>
          </a:xfrm>
          <a:prstGeom prst="rect">
            <a:avLst/>
          </a:prstGeom>
        </p:spPr>
      </p:pic>
    </p:spTree>
    <p:extLst>
      <p:ext uri="{BB962C8B-B14F-4D97-AF65-F5344CB8AC3E}">
        <p14:creationId xmlns:p14="http://schemas.microsoft.com/office/powerpoint/2010/main" val="12402758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8EF82-6396-5940-4ADB-9853B5E1E6F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33DE0FE-AF1D-4153-D5F8-9A6F03698A2D}"/>
              </a:ext>
            </a:extLst>
          </p:cNvPr>
          <p:cNvSpPr>
            <a:spLocks noGrp="1"/>
          </p:cNvSpPr>
          <p:nvPr>
            <p:ph type="title"/>
          </p:nvPr>
        </p:nvSpPr>
        <p:spPr>
          <a:xfrm>
            <a:off x="548640" y="530352"/>
            <a:ext cx="11082973" cy="594360"/>
          </a:xfrm>
        </p:spPr>
        <p:txBody>
          <a:bodyPr/>
          <a:lstStyle/>
          <a:p>
            <a:r>
              <a:rPr lang="en-US" dirty="0"/>
              <a:t>Close job requisition</a:t>
            </a:r>
          </a:p>
        </p:txBody>
      </p:sp>
      <p:sp>
        <p:nvSpPr>
          <p:cNvPr id="9" name="Text Placeholder 8">
            <a:extLst>
              <a:ext uri="{FF2B5EF4-FFF2-40B4-BE49-F238E27FC236}">
                <a16:creationId xmlns:a16="http://schemas.microsoft.com/office/drawing/2014/main" id="{9334104E-317A-5BF6-3FF9-8A9170996236}"/>
              </a:ext>
            </a:extLst>
          </p:cNvPr>
          <p:cNvSpPr>
            <a:spLocks noGrp="1"/>
          </p:cNvSpPr>
          <p:nvPr>
            <p:ph type="subTitle" idx="13"/>
          </p:nvPr>
        </p:nvSpPr>
        <p:spPr>
          <a:xfrm>
            <a:off x="548640" y="1097280"/>
            <a:ext cx="11088688" cy="696849"/>
          </a:xfrm>
        </p:spPr>
        <p:txBody>
          <a:bodyPr/>
          <a:lstStyle/>
          <a:p>
            <a:r>
              <a:rPr lang="en-US" dirty="0"/>
              <a:t>Recruiter</a:t>
            </a:r>
          </a:p>
        </p:txBody>
      </p:sp>
      <p:sp>
        <p:nvSpPr>
          <p:cNvPr id="12" name="Content Placeholder 11">
            <a:extLst>
              <a:ext uri="{FF2B5EF4-FFF2-40B4-BE49-F238E27FC236}">
                <a16:creationId xmlns:a16="http://schemas.microsoft.com/office/drawing/2014/main" id="{7A4B73B4-67FE-1270-18CC-76FE916310AF}"/>
              </a:ext>
            </a:extLst>
          </p:cNvPr>
          <p:cNvSpPr>
            <a:spLocks noGrp="1"/>
          </p:cNvSpPr>
          <p:nvPr>
            <p:ph type="body" sz="quarter" idx="16"/>
          </p:nvPr>
        </p:nvSpPr>
        <p:spPr>
          <a:xfrm>
            <a:off x="544831" y="1955800"/>
            <a:ext cx="3787684" cy="4270248"/>
          </a:xfrm>
        </p:spPr>
        <p:txBody>
          <a:bodyPr/>
          <a:lstStyle/>
          <a:p>
            <a:r>
              <a:rPr lang="en-US" dirty="0"/>
              <a:t>Once the hiring process is complete, close the job requisition.</a:t>
            </a:r>
          </a:p>
        </p:txBody>
      </p:sp>
      <p:pic>
        <p:nvPicPr>
          <p:cNvPr id="2" name="Picture 1">
            <a:extLst>
              <a:ext uri="{FF2B5EF4-FFF2-40B4-BE49-F238E27FC236}">
                <a16:creationId xmlns:a16="http://schemas.microsoft.com/office/drawing/2014/main" id="{B1F523F6-AF0F-F923-AD49-0946B681E195}"/>
              </a:ext>
            </a:extLst>
          </p:cNvPr>
          <p:cNvPicPr>
            <a:picLocks noChangeAspect="1"/>
          </p:cNvPicPr>
          <p:nvPr/>
        </p:nvPicPr>
        <p:blipFill>
          <a:blip r:embed="rId2"/>
          <a:stretch>
            <a:fillRect/>
          </a:stretch>
        </p:blipFill>
        <p:spPr>
          <a:xfrm>
            <a:off x="5180888" y="1442623"/>
            <a:ext cx="6450725" cy="4783425"/>
          </a:xfrm>
          <a:prstGeom prst="rect">
            <a:avLst/>
          </a:prstGeom>
        </p:spPr>
      </p:pic>
    </p:spTree>
    <p:extLst>
      <p:ext uri="{BB962C8B-B14F-4D97-AF65-F5344CB8AC3E}">
        <p14:creationId xmlns:p14="http://schemas.microsoft.com/office/powerpoint/2010/main" val="17359584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86EB5-9C0C-28FC-4753-410CAFA968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1A0FC7-DA24-80CF-6752-4B58F97A73CF}"/>
              </a:ext>
            </a:extLst>
          </p:cNvPr>
          <p:cNvSpPr>
            <a:spLocks noGrp="1"/>
          </p:cNvSpPr>
          <p:nvPr>
            <p:ph type="title"/>
          </p:nvPr>
        </p:nvSpPr>
        <p:spPr/>
        <p:txBody>
          <a:bodyPr/>
          <a:lstStyle/>
          <a:p>
            <a:r>
              <a:rPr lang="en-US" dirty="0"/>
              <a:t>MS Teams integration</a:t>
            </a:r>
          </a:p>
        </p:txBody>
      </p:sp>
      <p:sp>
        <p:nvSpPr>
          <p:cNvPr id="4" name="Text Placeholder 3">
            <a:extLst>
              <a:ext uri="{FF2B5EF4-FFF2-40B4-BE49-F238E27FC236}">
                <a16:creationId xmlns:a16="http://schemas.microsoft.com/office/drawing/2014/main" id="{87AA066A-3271-50C5-1A6B-3DEBDC9A214D}"/>
              </a:ext>
            </a:extLst>
          </p:cNvPr>
          <p:cNvSpPr>
            <a:spLocks noGrp="1"/>
          </p:cNvSpPr>
          <p:nvPr>
            <p:ph type="body" sz="quarter" idx="16"/>
          </p:nvPr>
        </p:nvSpPr>
        <p:spPr/>
        <p:txBody>
          <a:bodyPr vert="horz" lIns="0" tIns="0" rIns="0" bIns="0" rtlCol="0" anchor="t">
            <a:noAutofit/>
          </a:bodyPr>
          <a:lstStyle/>
          <a:p>
            <a:pPr marL="285750" indent="-285750">
              <a:buFont typeface="Arial" panose="020B0404040101010104" pitchFamily="34" charset="0"/>
              <a:buChar char="•"/>
            </a:pPr>
            <a:r>
              <a:rPr lang="en-US" dirty="0"/>
              <a:t>MS Teams integration is available to receive Virtual Agent notifications in the Microsoft Teams messaging app</a:t>
            </a:r>
          </a:p>
          <a:p>
            <a:pPr marL="285750" indent="-285750">
              <a:buFont typeface="Arial" panose="020B0404040101010104" pitchFamily="34" charset="0"/>
              <a:buChar char="•"/>
            </a:pPr>
            <a:r>
              <a:rPr lang="en-US" dirty="0"/>
              <a:t>Configure the Virtual Agent notifications to provide prompt updates for hiring managers and recruiters in Microsoft Teams</a:t>
            </a:r>
            <a:br>
              <a:rPr lang="en-US" dirty="0"/>
            </a:br>
            <a:br>
              <a:rPr lang="en-US" dirty="0"/>
            </a:br>
            <a:endParaRPr lang="en-US" dirty="0"/>
          </a:p>
          <a:p>
            <a:pPr>
              <a:buFont typeface="Arial" panose="020B0404040101010104" pitchFamily="34" charset="0"/>
              <a:buChar char="•"/>
            </a:pPr>
            <a:endParaRPr lang="en-US" dirty="0"/>
          </a:p>
        </p:txBody>
      </p:sp>
    </p:spTree>
    <p:extLst>
      <p:ext uri="{BB962C8B-B14F-4D97-AF65-F5344CB8AC3E}">
        <p14:creationId xmlns:p14="http://schemas.microsoft.com/office/powerpoint/2010/main" val="374964211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E5AD0-E008-357C-C0E6-CBA2ED2CDC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FF33C-ECAC-0E66-E579-0D73A90635B2}"/>
              </a:ext>
            </a:extLst>
          </p:cNvPr>
          <p:cNvSpPr>
            <a:spLocks noGrp="1"/>
          </p:cNvSpPr>
          <p:nvPr>
            <p:ph type="title"/>
          </p:nvPr>
        </p:nvSpPr>
        <p:spPr>
          <a:xfrm>
            <a:off x="548640" y="553413"/>
            <a:ext cx="11089323" cy="4287420"/>
          </a:xfrm>
        </p:spPr>
        <p:txBody>
          <a:bodyPr/>
          <a:lstStyle/>
          <a:p>
            <a:r>
              <a:rPr lang="en-US" dirty="0">
                <a:solidFill>
                  <a:schemeClr val="accent1"/>
                </a:solidFill>
              </a:rPr>
              <a:t>Recruitment Workspace</a:t>
            </a:r>
            <a:endParaRPr lang="en-US" dirty="0"/>
          </a:p>
        </p:txBody>
      </p:sp>
    </p:spTree>
    <p:extLst>
      <p:ext uri="{BB962C8B-B14F-4D97-AF65-F5344CB8AC3E}">
        <p14:creationId xmlns:p14="http://schemas.microsoft.com/office/powerpoint/2010/main" val="380716562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EBFF9-B5B2-7AEA-0233-708A9D24366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FC1EF72-375D-EEE3-89C7-B1E3863D36C7}"/>
              </a:ext>
            </a:extLst>
          </p:cNvPr>
          <p:cNvSpPr>
            <a:spLocks noGrp="1"/>
          </p:cNvSpPr>
          <p:nvPr>
            <p:ph type="title"/>
          </p:nvPr>
        </p:nvSpPr>
        <p:spPr/>
        <p:txBody>
          <a:bodyPr/>
          <a:lstStyle/>
          <a:p>
            <a:r>
              <a:rPr lang="en-US" dirty="0"/>
              <a:t>Recruitment Workspace homepage</a:t>
            </a:r>
          </a:p>
        </p:txBody>
      </p:sp>
      <p:sp>
        <p:nvSpPr>
          <p:cNvPr id="9" name="Text Placeholder 8">
            <a:extLst>
              <a:ext uri="{FF2B5EF4-FFF2-40B4-BE49-F238E27FC236}">
                <a16:creationId xmlns:a16="http://schemas.microsoft.com/office/drawing/2014/main" id="{2B736C5C-CC2B-959B-B4A1-72FE58B6B380}"/>
              </a:ext>
            </a:extLst>
          </p:cNvPr>
          <p:cNvSpPr>
            <a:spLocks noGrp="1"/>
          </p:cNvSpPr>
          <p:nvPr>
            <p:ph type="subTitle" idx="13"/>
          </p:nvPr>
        </p:nvSpPr>
        <p:spPr/>
        <p:txBody>
          <a:bodyPr vert="horz" lIns="0" tIns="0" rIns="0" bIns="0" rtlCol="0" anchor="t">
            <a:noAutofit/>
          </a:bodyPr>
          <a:lstStyle/>
          <a:p>
            <a:r>
              <a:rPr lang="en-US" dirty="0">
                <a:latin typeface="ServiceNow Sans"/>
              </a:rPr>
              <a:t>Recruiter</a:t>
            </a:r>
            <a:endParaRPr lang="en-US" dirty="0"/>
          </a:p>
        </p:txBody>
      </p:sp>
      <p:sp>
        <p:nvSpPr>
          <p:cNvPr id="12" name="Content Placeholder 11">
            <a:extLst>
              <a:ext uri="{FF2B5EF4-FFF2-40B4-BE49-F238E27FC236}">
                <a16:creationId xmlns:a16="http://schemas.microsoft.com/office/drawing/2014/main" id="{40A5FDC6-1DB2-3331-56B2-C6B3FF2C101E}"/>
              </a:ext>
            </a:extLst>
          </p:cNvPr>
          <p:cNvSpPr>
            <a:spLocks noGrp="1"/>
          </p:cNvSpPr>
          <p:nvPr>
            <p:ph type="body" sz="quarter" idx="16"/>
          </p:nvPr>
        </p:nvSpPr>
        <p:spPr>
          <a:xfrm>
            <a:off x="544830" y="1955800"/>
            <a:ext cx="3240092" cy="4270248"/>
          </a:xfrm>
        </p:spPr>
        <p:txBody>
          <a:bodyPr/>
          <a:lstStyle/>
          <a:p>
            <a:r>
              <a:rPr lang="en-US" dirty="0"/>
              <a:t>The Recruitment workspace:</a:t>
            </a:r>
          </a:p>
          <a:p>
            <a:pPr marL="285750" indent="-285750">
              <a:buFont typeface="Arial" panose="020B0604020202020204" pitchFamily="34" charset="0"/>
              <a:buChar char="•"/>
            </a:pPr>
            <a:r>
              <a:rPr lang="en-US" dirty="0"/>
              <a:t>Centralizes job requisition tracking</a:t>
            </a:r>
          </a:p>
          <a:p>
            <a:pPr marL="285750" indent="-285750">
              <a:buFont typeface="Arial" panose="020B0604020202020204" pitchFamily="34" charset="0"/>
              <a:buChar char="•"/>
            </a:pPr>
            <a:r>
              <a:rPr lang="en-US" dirty="0"/>
              <a:t>Boosts hiring efficiency</a:t>
            </a:r>
          </a:p>
          <a:p>
            <a:pPr marL="285750" indent="-285750">
              <a:buFont typeface="Arial" panose="020B0604020202020204" pitchFamily="34" charset="0"/>
              <a:buChar char="•"/>
            </a:pPr>
            <a:r>
              <a:rPr lang="en-US" dirty="0"/>
              <a:t>Enhances applicant engagement</a:t>
            </a:r>
          </a:p>
          <a:p>
            <a:pPr marL="285750" indent="-285750">
              <a:buFont typeface="Arial" panose="020B0604020202020204" pitchFamily="34" charset="0"/>
              <a:buChar char="•"/>
            </a:pPr>
            <a:r>
              <a:rPr lang="en-US" dirty="0"/>
              <a:t>Enables recruiters to make smarter decisions with talent insights</a:t>
            </a:r>
          </a:p>
          <a:p>
            <a:br>
              <a:rPr lang="en-US" dirty="0"/>
            </a:br>
            <a:endParaRPr lang="en-US" dirty="0"/>
          </a:p>
        </p:txBody>
      </p:sp>
      <p:pic>
        <p:nvPicPr>
          <p:cNvPr id="2" name="Picture 1">
            <a:extLst>
              <a:ext uri="{FF2B5EF4-FFF2-40B4-BE49-F238E27FC236}">
                <a16:creationId xmlns:a16="http://schemas.microsoft.com/office/drawing/2014/main" id="{9230391D-2D70-9771-5EE5-2583CFB8EA7C}"/>
              </a:ext>
            </a:extLst>
          </p:cNvPr>
          <p:cNvPicPr>
            <a:picLocks noChangeAspect="1"/>
          </p:cNvPicPr>
          <p:nvPr/>
        </p:nvPicPr>
        <p:blipFill>
          <a:blip r:embed="rId3"/>
          <a:stretch>
            <a:fillRect/>
          </a:stretch>
        </p:blipFill>
        <p:spPr>
          <a:xfrm>
            <a:off x="3871594" y="1955800"/>
            <a:ext cx="7772400" cy="3726493"/>
          </a:xfrm>
          <a:prstGeom prst="rect">
            <a:avLst/>
          </a:prstGeom>
        </p:spPr>
      </p:pic>
    </p:spTree>
    <p:extLst>
      <p:ext uri="{BB962C8B-B14F-4D97-AF65-F5344CB8AC3E}">
        <p14:creationId xmlns:p14="http://schemas.microsoft.com/office/powerpoint/2010/main" val="397380526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A7F7C-6105-BEE5-E03A-90584BF963F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F1443FB-2882-6DE0-C3B6-EA4CEEE75838}"/>
              </a:ext>
            </a:extLst>
          </p:cNvPr>
          <p:cNvSpPr>
            <a:spLocks noGrp="1"/>
          </p:cNvSpPr>
          <p:nvPr>
            <p:ph type="title"/>
          </p:nvPr>
        </p:nvSpPr>
        <p:spPr/>
        <p:txBody>
          <a:bodyPr/>
          <a:lstStyle/>
          <a:p>
            <a:r>
              <a:rPr lang="en-US" dirty="0"/>
              <a:t>Job requisition tab</a:t>
            </a:r>
          </a:p>
        </p:txBody>
      </p:sp>
      <p:sp>
        <p:nvSpPr>
          <p:cNvPr id="9" name="Text Placeholder 8">
            <a:extLst>
              <a:ext uri="{FF2B5EF4-FFF2-40B4-BE49-F238E27FC236}">
                <a16:creationId xmlns:a16="http://schemas.microsoft.com/office/drawing/2014/main" id="{9B7D67A3-8B48-EA72-2F04-3399240CCB96}"/>
              </a:ext>
            </a:extLst>
          </p:cNvPr>
          <p:cNvSpPr>
            <a:spLocks noGrp="1"/>
          </p:cNvSpPr>
          <p:nvPr>
            <p:ph type="subTitle" idx="13"/>
          </p:nvPr>
        </p:nvSpPr>
        <p:spPr/>
        <p:txBody>
          <a:bodyPr/>
          <a:lstStyle/>
          <a:p>
            <a:r>
              <a:rPr lang="en-US" dirty="0"/>
              <a:t>Overview</a:t>
            </a:r>
          </a:p>
        </p:txBody>
      </p:sp>
      <p:sp>
        <p:nvSpPr>
          <p:cNvPr id="12" name="Content Placeholder 11">
            <a:extLst>
              <a:ext uri="{FF2B5EF4-FFF2-40B4-BE49-F238E27FC236}">
                <a16:creationId xmlns:a16="http://schemas.microsoft.com/office/drawing/2014/main" id="{CEBB687E-DDD6-A169-14FB-A0236A6D3B30}"/>
              </a:ext>
            </a:extLst>
          </p:cNvPr>
          <p:cNvSpPr>
            <a:spLocks noGrp="1"/>
          </p:cNvSpPr>
          <p:nvPr>
            <p:ph type="body" sz="quarter" idx="16"/>
          </p:nvPr>
        </p:nvSpPr>
        <p:spPr>
          <a:xfrm>
            <a:off x="544830" y="1955800"/>
            <a:ext cx="2892851" cy="4270248"/>
          </a:xfrm>
        </p:spPr>
        <p:txBody>
          <a:bodyPr/>
          <a:lstStyle/>
          <a:p>
            <a:pPr>
              <a:buNone/>
            </a:pPr>
            <a:r>
              <a:rPr lang="en-US" dirty="0"/>
              <a:t>Interactive widgets in the Overview section:</a:t>
            </a:r>
          </a:p>
          <a:p>
            <a:pPr marL="285750" indent="-285750">
              <a:buFont typeface="Arial" panose="020B0604020202020204" pitchFamily="34" charset="0"/>
              <a:buChar char="•"/>
            </a:pPr>
            <a:r>
              <a:rPr lang="en-US" dirty="0"/>
              <a:t>Active requisitions</a:t>
            </a:r>
          </a:p>
          <a:p>
            <a:pPr marL="285750" indent="-285750">
              <a:buFont typeface="Arial" panose="020B0604020202020204" pitchFamily="34" charset="0"/>
              <a:buChar char="•"/>
            </a:pPr>
            <a:r>
              <a:rPr lang="en-US" dirty="0"/>
              <a:t>Active requisition requests by state</a:t>
            </a:r>
          </a:p>
          <a:p>
            <a:pPr marL="285750" indent="-285750">
              <a:buFont typeface="Arial" panose="020B0604020202020204" pitchFamily="34" charset="0"/>
              <a:buChar char="•"/>
            </a:pPr>
            <a:r>
              <a:rPr lang="en-US" dirty="0"/>
              <a:t>Requisition – recruitment coordination</a:t>
            </a:r>
          </a:p>
          <a:p>
            <a:pPr marL="285750" indent="-285750">
              <a:buFont typeface="Arial" panose="020B0604020202020204" pitchFamily="34" charset="0"/>
              <a:buChar char="•"/>
            </a:pPr>
            <a:r>
              <a:rPr lang="en-US" dirty="0"/>
              <a:t>On hold requisitions</a:t>
            </a:r>
          </a:p>
          <a:p>
            <a:pPr marL="285750" indent="-285750">
              <a:buFont typeface="Arial" panose="020B0604020202020204" pitchFamily="34" charset="0"/>
              <a:buChar char="•"/>
            </a:pPr>
            <a:r>
              <a:rPr lang="en-US" dirty="0"/>
              <a:t>Unassigned requisitions</a:t>
            </a:r>
          </a:p>
          <a:p>
            <a:pPr marL="285750" indent="-28575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id="{633C364D-6680-11EB-914C-5EB3E32F3B8E}"/>
              </a:ext>
            </a:extLst>
          </p:cNvPr>
          <p:cNvPicPr>
            <a:picLocks noChangeAspect="1"/>
          </p:cNvPicPr>
          <p:nvPr/>
        </p:nvPicPr>
        <p:blipFill>
          <a:blip r:embed="rId3"/>
          <a:srcRect l="2588" t="32772" b="12256"/>
          <a:stretch>
            <a:fillRect/>
          </a:stretch>
        </p:blipFill>
        <p:spPr>
          <a:xfrm>
            <a:off x="3942522" y="2499810"/>
            <a:ext cx="7701473" cy="2083765"/>
          </a:xfrm>
          <a:prstGeom prst="rect">
            <a:avLst/>
          </a:prstGeom>
        </p:spPr>
      </p:pic>
    </p:spTree>
    <p:extLst>
      <p:ext uri="{BB962C8B-B14F-4D97-AF65-F5344CB8AC3E}">
        <p14:creationId xmlns:p14="http://schemas.microsoft.com/office/powerpoint/2010/main" val="27337906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C5872-B87F-96C2-9BA8-B0DEE316991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E533A16-25D6-BEC0-BBEF-825021D8DF45}"/>
              </a:ext>
            </a:extLst>
          </p:cNvPr>
          <p:cNvSpPr>
            <a:spLocks noGrp="1"/>
          </p:cNvSpPr>
          <p:nvPr>
            <p:ph type="title"/>
          </p:nvPr>
        </p:nvSpPr>
        <p:spPr>
          <a:xfrm>
            <a:off x="548640" y="530352"/>
            <a:ext cx="11082973" cy="594360"/>
          </a:xfrm>
        </p:spPr>
        <p:txBody>
          <a:bodyPr/>
          <a:lstStyle/>
          <a:p>
            <a:r>
              <a:rPr lang="en-US" dirty="0"/>
              <a:t>Job requisition tab</a:t>
            </a:r>
          </a:p>
        </p:txBody>
      </p:sp>
      <p:sp>
        <p:nvSpPr>
          <p:cNvPr id="9" name="Text Placeholder 8">
            <a:extLst>
              <a:ext uri="{FF2B5EF4-FFF2-40B4-BE49-F238E27FC236}">
                <a16:creationId xmlns:a16="http://schemas.microsoft.com/office/drawing/2014/main" id="{35C95B75-5682-810E-4630-B3DF301C504C}"/>
              </a:ext>
            </a:extLst>
          </p:cNvPr>
          <p:cNvSpPr>
            <a:spLocks noGrp="1"/>
          </p:cNvSpPr>
          <p:nvPr>
            <p:ph type="subTitle" idx="13"/>
          </p:nvPr>
        </p:nvSpPr>
        <p:spPr>
          <a:xfrm>
            <a:off x="548640" y="1097280"/>
            <a:ext cx="11088688" cy="696849"/>
          </a:xfrm>
        </p:spPr>
        <p:txBody>
          <a:bodyPr/>
          <a:lstStyle/>
          <a:p>
            <a:r>
              <a:rPr lang="en-US" dirty="0"/>
              <a:t>Active requisitions</a:t>
            </a:r>
          </a:p>
        </p:txBody>
      </p:sp>
      <p:sp>
        <p:nvSpPr>
          <p:cNvPr id="12" name="Content Placeholder 11">
            <a:extLst>
              <a:ext uri="{FF2B5EF4-FFF2-40B4-BE49-F238E27FC236}">
                <a16:creationId xmlns:a16="http://schemas.microsoft.com/office/drawing/2014/main" id="{D70C55D3-B6F2-5FE4-F5D2-C273506E29EC}"/>
              </a:ext>
            </a:extLst>
          </p:cNvPr>
          <p:cNvSpPr>
            <a:spLocks noGrp="1"/>
          </p:cNvSpPr>
          <p:nvPr>
            <p:ph type="body" sz="quarter" idx="16"/>
          </p:nvPr>
        </p:nvSpPr>
        <p:spPr>
          <a:xfrm>
            <a:off x="544831" y="1955800"/>
            <a:ext cx="3417570" cy="4270248"/>
          </a:xfrm>
        </p:spPr>
        <p:txBody>
          <a:bodyPr/>
          <a:lstStyle/>
          <a:p>
            <a:r>
              <a:rPr lang="en-US" dirty="0"/>
              <a:t>Interactive view of requisitions which includes:</a:t>
            </a:r>
          </a:p>
          <a:p>
            <a:pPr marL="285750" indent="-285750">
              <a:buFont typeface="Arial" panose="020B0604020202020204" pitchFamily="34" charset="0"/>
              <a:buChar char="•"/>
            </a:pPr>
            <a:r>
              <a:rPr lang="en-US" dirty="0"/>
              <a:t>Ability to search by job requisition ID, hiring manager, and job title</a:t>
            </a:r>
          </a:p>
          <a:p>
            <a:pPr marL="285750" indent="-285750">
              <a:buFont typeface="Arial" panose="020B0604020202020204" pitchFamily="34" charset="0"/>
              <a:buChar char="•"/>
            </a:pPr>
            <a:r>
              <a:rPr lang="en-US" dirty="0"/>
              <a:t>Ability to filter on state, updated date, and created date</a:t>
            </a:r>
          </a:p>
          <a:p>
            <a:pPr marL="285750" indent="-285750">
              <a:buFont typeface="Arial" panose="020B0604020202020204" pitchFamily="34" charset="0"/>
              <a:buChar char="•"/>
            </a:pPr>
            <a:r>
              <a:rPr lang="en-US" dirty="0"/>
              <a:t>Link to the job requisition record</a:t>
            </a:r>
          </a:p>
          <a:p>
            <a:pPr marL="285750" indent="-285750">
              <a:buFont typeface="Arial" panose="020B0604020202020204" pitchFamily="34" charset="0"/>
              <a:buChar char="•"/>
            </a:pPr>
            <a:r>
              <a:rPr lang="en-US" dirty="0"/>
              <a:t>Summary of prospects &amp; application stages</a:t>
            </a:r>
          </a:p>
        </p:txBody>
      </p:sp>
      <p:pic>
        <p:nvPicPr>
          <p:cNvPr id="2" name="Picture 1">
            <a:extLst>
              <a:ext uri="{FF2B5EF4-FFF2-40B4-BE49-F238E27FC236}">
                <a16:creationId xmlns:a16="http://schemas.microsoft.com/office/drawing/2014/main" id="{4A8CAC15-7C40-1CC3-60F9-48978A8F1C7B}"/>
              </a:ext>
            </a:extLst>
          </p:cNvPr>
          <p:cNvPicPr>
            <a:picLocks noChangeAspect="1"/>
          </p:cNvPicPr>
          <p:nvPr/>
        </p:nvPicPr>
        <p:blipFill>
          <a:blip r:embed="rId3"/>
          <a:stretch>
            <a:fillRect/>
          </a:stretch>
        </p:blipFill>
        <p:spPr>
          <a:xfrm>
            <a:off x="4178526" y="1955801"/>
            <a:ext cx="7453087" cy="3573398"/>
          </a:xfrm>
          <a:prstGeom prst="rect">
            <a:avLst/>
          </a:prstGeom>
        </p:spPr>
      </p:pic>
    </p:spTree>
    <p:extLst>
      <p:ext uri="{BB962C8B-B14F-4D97-AF65-F5344CB8AC3E}">
        <p14:creationId xmlns:p14="http://schemas.microsoft.com/office/powerpoint/2010/main" val="10516888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4E68D-F8B7-B822-261C-191D5D68061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CBA97FB-2111-9FC1-77C5-FE1C0B856134}"/>
              </a:ext>
            </a:extLst>
          </p:cNvPr>
          <p:cNvSpPr>
            <a:spLocks noGrp="1"/>
          </p:cNvSpPr>
          <p:nvPr>
            <p:ph type="title"/>
          </p:nvPr>
        </p:nvSpPr>
        <p:spPr>
          <a:prstGeom prst="rect">
            <a:avLst/>
          </a:prstGeom>
        </p:spPr>
        <p:txBody>
          <a:bodyPr/>
          <a:lstStyle/>
          <a:p>
            <a:r>
              <a:rPr lang="en-US" dirty="0"/>
              <a:t>Adding your Logo</a:t>
            </a:r>
          </a:p>
        </p:txBody>
      </p:sp>
      <p:sp>
        <p:nvSpPr>
          <p:cNvPr id="6" name="Subtitle 5">
            <a:extLst>
              <a:ext uri="{FF2B5EF4-FFF2-40B4-BE49-F238E27FC236}">
                <a16:creationId xmlns:a16="http://schemas.microsoft.com/office/drawing/2014/main" id="{7E631FAD-016F-DB28-8A65-02E4200C7EF7}"/>
              </a:ext>
            </a:extLst>
          </p:cNvPr>
          <p:cNvSpPr>
            <a:spLocks noGrp="1"/>
          </p:cNvSpPr>
          <p:nvPr>
            <p:ph type="subTitle" idx="13"/>
          </p:nvPr>
        </p:nvSpPr>
        <p:spPr>
          <a:prstGeom prst="rect">
            <a:avLst/>
          </a:prstGeom>
        </p:spPr>
        <p:txBody>
          <a:bodyPr/>
          <a:lstStyle/>
          <a:p>
            <a:r>
              <a:rPr lang="en-US" b="1" dirty="0"/>
              <a:t>PLEASE REMOVE THIS SLIDE BEFORE PRESENTING</a:t>
            </a:r>
          </a:p>
        </p:txBody>
      </p:sp>
      <p:sp>
        <p:nvSpPr>
          <p:cNvPr id="7" name="Text Placeholder 6">
            <a:extLst>
              <a:ext uri="{FF2B5EF4-FFF2-40B4-BE49-F238E27FC236}">
                <a16:creationId xmlns:a16="http://schemas.microsoft.com/office/drawing/2014/main" id="{D2E93F1F-6F8A-5579-B68A-60000233508E}"/>
              </a:ext>
            </a:extLst>
          </p:cNvPr>
          <p:cNvSpPr>
            <a:spLocks noGrp="1"/>
          </p:cNvSpPr>
          <p:nvPr>
            <p:ph type="body" sz="quarter" idx="16"/>
          </p:nvPr>
        </p:nvSpPr>
        <p:spPr>
          <a:xfrm>
            <a:off x="544829" y="1956184"/>
            <a:ext cx="6999899" cy="4269136"/>
          </a:xfrm>
          <a:prstGeom prst="rect">
            <a:avLst/>
          </a:prstGeom>
        </p:spPr>
        <p:txBody>
          <a:bodyPr/>
          <a:lstStyle/>
          <a:p>
            <a:pPr>
              <a:buNone/>
            </a:pPr>
            <a:r>
              <a:rPr lang="en-US" sz="1600" dirty="0">
                <a:latin typeface="ServiceNow Sans Medium" panose="020B0504040101010104" pitchFamily="34" charset="77"/>
              </a:rPr>
              <a:t>To provide credibility to ServiceNow documents, the ServiceNow and your logo should be visible, but not domineering.</a:t>
            </a:r>
          </a:p>
          <a:p>
            <a:pPr>
              <a:buNone/>
            </a:pPr>
            <a:r>
              <a:rPr lang="en-US" sz="1600" dirty="0">
                <a:latin typeface="ServiceNow Sans Medium" panose="020B0504040101010104" pitchFamily="34" charset="77"/>
              </a:rPr>
              <a:t>Click View &gt; Slide Master &gt; Slide &gt; Select Page 1</a:t>
            </a:r>
          </a:p>
          <a:p>
            <a:pPr>
              <a:buNone/>
            </a:pPr>
            <a:r>
              <a:rPr lang="en-US" sz="1600" i="1" dirty="0">
                <a:latin typeface="ServiceNow Sans Medium" panose="020B0504040101010104" pitchFamily="34" charset="77"/>
              </a:rPr>
              <a:t>What to do:</a:t>
            </a:r>
          </a:p>
          <a:p>
            <a:pPr marL="285664" indent="-285664">
              <a:buFont typeface="Arial" panose="020B0604020202020204" pitchFamily="34" charset="0"/>
              <a:buChar char="•"/>
            </a:pPr>
            <a:r>
              <a:rPr lang="en-US" sz="1600" dirty="0"/>
              <a:t>Download logos from the Brand Center site.</a:t>
            </a:r>
          </a:p>
          <a:p>
            <a:pPr marL="285664" indent="-285664">
              <a:buFont typeface="Arial" panose="020B0604020202020204" pitchFamily="34" charset="0"/>
              <a:buChar char="•"/>
            </a:pPr>
            <a:r>
              <a:rPr lang="en-US" sz="1600" dirty="0"/>
              <a:t>Scale logos to an exact height of 0.45cm. </a:t>
            </a:r>
          </a:p>
          <a:p>
            <a:pPr marL="285664" indent="-285664">
              <a:buFont typeface="Arial" panose="020B0604020202020204" pitchFamily="34" charset="0"/>
              <a:buChar char="•"/>
            </a:pPr>
            <a:r>
              <a:rPr lang="en-US" sz="1600" dirty="0"/>
              <a:t>Place your logos after the ServiceNow logo, divided by a grey bar.</a:t>
            </a:r>
          </a:p>
          <a:p>
            <a:pPr marL="285664" indent="-285664">
              <a:buFont typeface="Arial" panose="020B0604020202020204" pitchFamily="34" charset="0"/>
              <a:buChar char="•"/>
            </a:pPr>
            <a:r>
              <a:rPr lang="en-US" sz="1600" dirty="0"/>
              <a:t>The same rule should be applied when more than one partner logo is required.</a:t>
            </a:r>
          </a:p>
          <a:p>
            <a:pPr>
              <a:buNone/>
            </a:pPr>
            <a:r>
              <a:rPr lang="en-US" sz="1600" i="1" dirty="0">
                <a:latin typeface="ServiceNow Sans Medium" panose="020B0504040101010104" pitchFamily="34" charset="77"/>
              </a:rPr>
              <a:t>What not to do:</a:t>
            </a:r>
          </a:p>
          <a:p>
            <a:pPr marL="285664" indent="-285664">
              <a:buFont typeface="Arial" panose="020B0604020202020204" pitchFamily="34" charset="0"/>
              <a:buChar char="•"/>
            </a:pPr>
            <a:r>
              <a:rPr lang="en-US" sz="1600" dirty="0"/>
              <a:t>Do not scale logos beyond 0.45cm height.</a:t>
            </a:r>
          </a:p>
          <a:p>
            <a:pPr marL="285664" indent="-285664">
              <a:buFont typeface="Arial" panose="020B0604020202020204" pitchFamily="34" charset="0"/>
              <a:buChar char="•"/>
            </a:pPr>
            <a:r>
              <a:rPr lang="en-US" sz="1600" dirty="0"/>
              <a:t>Do not stack ServiceNow and Partner logos.</a:t>
            </a:r>
          </a:p>
          <a:p>
            <a:pPr marL="285664" indent="-285664">
              <a:buFont typeface="Arial" panose="020B0604020202020204" pitchFamily="34" charset="0"/>
              <a:buChar char="•"/>
            </a:pPr>
            <a:endParaRPr lang="en-US" sz="1600" dirty="0"/>
          </a:p>
        </p:txBody>
      </p:sp>
      <p:grpSp>
        <p:nvGrpSpPr>
          <p:cNvPr id="2" name="Group 1">
            <a:extLst>
              <a:ext uri="{FF2B5EF4-FFF2-40B4-BE49-F238E27FC236}">
                <a16:creationId xmlns:a16="http://schemas.microsoft.com/office/drawing/2014/main" id="{8756F2F6-7346-4E89-87DB-36ADBFD83E3F}"/>
              </a:ext>
            </a:extLst>
          </p:cNvPr>
          <p:cNvGrpSpPr/>
          <p:nvPr/>
        </p:nvGrpSpPr>
        <p:grpSpPr>
          <a:xfrm>
            <a:off x="7803383" y="2001050"/>
            <a:ext cx="3840612" cy="3759062"/>
            <a:chOff x="7305532" y="1635300"/>
            <a:chExt cx="4492029" cy="4396647"/>
          </a:xfrm>
        </p:grpSpPr>
        <p:pic>
          <p:nvPicPr>
            <p:cNvPr id="3" name="Picture 2">
              <a:extLst>
                <a:ext uri="{FF2B5EF4-FFF2-40B4-BE49-F238E27FC236}">
                  <a16:creationId xmlns:a16="http://schemas.microsoft.com/office/drawing/2014/main" id="{E8B647D0-5636-A65B-D8C8-76AB7846050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05532" y="1635300"/>
              <a:ext cx="4492029" cy="1243281"/>
            </a:xfrm>
            <a:prstGeom prst="rect">
              <a:avLst/>
            </a:prstGeom>
          </p:spPr>
        </p:pic>
        <p:pic>
          <p:nvPicPr>
            <p:cNvPr id="4" name="Picture 3">
              <a:extLst>
                <a:ext uri="{FF2B5EF4-FFF2-40B4-BE49-F238E27FC236}">
                  <a16:creationId xmlns:a16="http://schemas.microsoft.com/office/drawing/2014/main" id="{3BB464E8-5247-F6AE-8EC1-0D67794DAC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05532" y="2985314"/>
              <a:ext cx="2210878" cy="1243281"/>
            </a:xfrm>
            <a:prstGeom prst="rect">
              <a:avLst/>
            </a:prstGeom>
          </p:spPr>
        </p:pic>
        <p:pic>
          <p:nvPicPr>
            <p:cNvPr id="8" name="Picture 7">
              <a:extLst>
                <a:ext uri="{FF2B5EF4-FFF2-40B4-BE49-F238E27FC236}">
                  <a16:creationId xmlns:a16="http://schemas.microsoft.com/office/drawing/2014/main" id="{EAE6810C-1A6A-0F4D-8582-79E9FD6586A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86683" y="4788666"/>
              <a:ext cx="2210878" cy="1243281"/>
            </a:xfrm>
            <a:prstGeom prst="rect">
              <a:avLst/>
            </a:prstGeom>
          </p:spPr>
        </p:pic>
        <p:pic>
          <p:nvPicPr>
            <p:cNvPr id="9" name="Picture 8">
              <a:extLst>
                <a:ext uri="{FF2B5EF4-FFF2-40B4-BE49-F238E27FC236}">
                  <a16:creationId xmlns:a16="http://schemas.microsoft.com/office/drawing/2014/main" id="{C3559347-D157-E187-7D93-4101F75194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05532" y="4788666"/>
              <a:ext cx="2205473" cy="1243281"/>
            </a:xfrm>
            <a:prstGeom prst="rect">
              <a:avLst/>
            </a:prstGeom>
          </p:spPr>
        </p:pic>
      </p:grpSp>
    </p:spTree>
    <p:extLst>
      <p:ext uri="{BB962C8B-B14F-4D97-AF65-F5344CB8AC3E}">
        <p14:creationId xmlns:p14="http://schemas.microsoft.com/office/powerpoint/2010/main" val="230032703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5B22E-C529-C8E7-4CEA-46A9B3D503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3D9FA19-0F57-1FD5-F5FB-345F0A81B514}"/>
              </a:ext>
            </a:extLst>
          </p:cNvPr>
          <p:cNvSpPr>
            <a:spLocks noGrp="1"/>
          </p:cNvSpPr>
          <p:nvPr>
            <p:ph type="title"/>
          </p:nvPr>
        </p:nvSpPr>
        <p:spPr>
          <a:xfrm>
            <a:off x="548640" y="530352"/>
            <a:ext cx="11082973" cy="594360"/>
          </a:xfrm>
        </p:spPr>
        <p:txBody>
          <a:bodyPr/>
          <a:lstStyle/>
          <a:p>
            <a:r>
              <a:rPr lang="en-US" dirty="0"/>
              <a:t>Talent pool tab</a:t>
            </a:r>
          </a:p>
        </p:txBody>
      </p:sp>
      <p:sp>
        <p:nvSpPr>
          <p:cNvPr id="12" name="Content Placeholder 11">
            <a:extLst>
              <a:ext uri="{FF2B5EF4-FFF2-40B4-BE49-F238E27FC236}">
                <a16:creationId xmlns:a16="http://schemas.microsoft.com/office/drawing/2014/main" id="{D299ABBA-F94F-38E6-3401-D0B4CEA1315B}"/>
              </a:ext>
            </a:extLst>
          </p:cNvPr>
          <p:cNvSpPr>
            <a:spLocks noGrp="1"/>
          </p:cNvSpPr>
          <p:nvPr>
            <p:ph type="body" sz="quarter" idx="16"/>
          </p:nvPr>
        </p:nvSpPr>
        <p:spPr>
          <a:xfrm>
            <a:off x="544831" y="1955800"/>
            <a:ext cx="3101194" cy="4270248"/>
          </a:xfrm>
        </p:spPr>
        <p:txBody>
          <a:bodyPr/>
          <a:lstStyle/>
          <a:p>
            <a:r>
              <a:rPr lang="en-US" dirty="0"/>
              <a:t>Create Talent pools to organize similar talent profiles in one place for hiring requirements.</a:t>
            </a:r>
          </a:p>
          <a:p>
            <a:r>
              <a:rPr lang="en-US" dirty="0"/>
              <a:t>Talent pools can be created by:</a:t>
            </a:r>
          </a:p>
          <a:p>
            <a:pPr marL="285750" indent="-285750">
              <a:buFont typeface="Arial" panose="020B0604020202020204" pitchFamily="34" charset="0"/>
              <a:buChar char="•"/>
            </a:pPr>
            <a:r>
              <a:rPr lang="en-US" dirty="0"/>
              <a:t>Creating a new talent pool and manually adding profiles</a:t>
            </a:r>
          </a:p>
          <a:p>
            <a:pPr marL="285750" indent="-285750">
              <a:buFont typeface="Arial" panose="020B0604020202020204" pitchFamily="34" charset="0"/>
              <a:buChar char="•"/>
            </a:pPr>
            <a:r>
              <a:rPr lang="en-US" dirty="0"/>
              <a:t>Selecting multiple profiles and creating a talent pool for those profiles</a:t>
            </a:r>
          </a:p>
          <a:p>
            <a:endParaRPr lang="en-US" dirty="0"/>
          </a:p>
          <a:p>
            <a:endParaRPr lang="en-US" dirty="0"/>
          </a:p>
        </p:txBody>
      </p:sp>
      <p:pic>
        <p:nvPicPr>
          <p:cNvPr id="2" name="Picture 1">
            <a:extLst>
              <a:ext uri="{FF2B5EF4-FFF2-40B4-BE49-F238E27FC236}">
                <a16:creationId xmlns:a16="http://schemas.microsoft.com/office/drawing/2014/main" id="{1531AF15-49C3-7FDC-9EC9-140F0B179407}"/>
              </a:ext>
            </a:extLst>
          </p:cNvPr>
          <p:cNvPicPr>
            <a:picLocks noChangeAspect="1"/>
          </p:cNvPicPr>
          <p:nvPr/>
        </p:nvPicPr>
        <p:blipFill>
          <a:blip r:embed="rId2"/>
          <a:stretch>
            <a:fillRect/>
          </a:stretch>
        </p:blipFill>
        <p:spPr>
          <a:xfrm>
            <a:off x="4253139" y="2198868"/>
            <a:ext cx="7378474" cy="3315543"/>
          </a:xfrm>
          <a:prstGeom prst="rect">
            <a:avLst/>
          </a:prstGeom>
        </p:spPr>
      </p:pic>
    </p:spTree>
    <p:extLst>
      <p:ext uri="{BB962C8B-B14F-4D97-AF65-F5344CB8AC3E}">
        <p14:creationId xmlns:p14="http://schemas.microsoft.com/office/powerpoint/2010/main" val="5251908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E51E8-E81F-416D-BE63-50D5AE13CE3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6349151-76C2-00C2-E92C-C656F487D648}"/>
              </a:ext>
            </a:extLst>
          </p:cNvPr>
          <p:cNvSpPr>
            <a:spLocks noGrp="1"/>
          </p:cNvSpPr>
          <p:nvPr>
            <p:ph type="title"/>
          </p:nvPr>
        </p:nvSpPr>
        <p:spPr/>
        <p:txBody>
          <a:bodyPr/>
          <a:lstStyle/>
          <a:p>
            <a:r>
              <a:rPr lang="en-US" dirty="0"/>
              <a:t>Navigation menu</a:t>
            </a:r>
          </a:p>
        </p:txBody>
      </p:sp>
      <p:sp>
        <p:nvSpPr>
          <p:cNvPr id="12" name="Content Placeholder 11">
            <a:extLst>
              <a:ext uri="{FF2B5EF4-FFF2-40B4-BE49-F238E27FC236}">
                <a16:creationId xmlns:a16="http://schemas.microsoft.com/office/drawing/2014/main" id="{43D50A0D-2824-5151-2149-500B138989FC}"/>
              </a:ext>
            </a:extLst>
          </p:cNvPr>
          <p:cNvSpPr>
            <a:spLocks noGrp="1"/>
          </p:cNvSpPr>
          <p:nvPr>
            <p:ph type="body" sz="quarter" idx="16"/>
          </p:nvPr>
        </p:nvSpPr>
        <p:spPr>
          <a:xfrm>
            <a:off x="544830" y="1955800"/>
            <a:ext cx="4168684" cy="4270248"/>
          </a:xfrm>
        </p:spPr>
        <p:txBody>
          <a:bodyPr/>
          <a:lstStyle/>
          <a:p>
            <a:r>
              <a:rPr lang="en-US" dirty="0"/>
              <a:t>Navigate using the menu to view:</a:t>
            </a:r>
          </a:p>
          <a:p>
            <a:pPr marL="285750" indent="-285750">
              <a:buFont typeface="Arial" panose="020B0604020202020204" pitchFamily="34" charset="0"/>
              <a:buChar char="•"/>
            </a:pPr>
            <a:r>
              <a:rPr lang="en-US" dirty="0"/>
              <a:t>Job requisitions</a:t>
            </a:r>
          </a:p>
          <a:p>
            <a:pPr marL="285750" indent="-285750">
              <a:buFont typeface="Arial" panose="020B0604020202020204" pitchFamily="34" charset="0"/>
              <a:buChar char="•"/>
            </a:pPr>
            <a:r>
              <a:rPr lang="en-US" dirty="0"/>
              <a:t>Applications</a:t>
            </a:r>
          </a:p>
          <a:p>
            <a:pPr marL="285750" indent="-285750">
              <a:buFont typeface="Arial" panose="020B0604020202020204" pitchFamily="34" charset="0"/>
              <a:buChar char="•"/>
            </a:pPr>
            <a:r>
              <a:rPr lang="en-US" dirty="0"/>
              <a:t>Interviews</a:t>
            </a:r>
          </a:p>
          <a:p>
            <a:pPr marL="285750" indent="-285750">
              <a:buFont typeface="Arial" panose="020B0604020202020204" pitchFamily="34" charset="0"/>
              <a:buChar char="•"/>
            </a:pPr>
            <a:r>
              <a:rPr lang="en-US" dirty="0"/>
              <a:t>Availability requests</a:t>
            </a:r>
          </a:p>
          <a:p>
            <a:pPr marL="285750" indent="-285750">
              <a:buFont typeface="Arial" panose="020B0604020202020204" pitchFamily="34" charset="0"/>
              <a:buChar char="•"/>
            </a:pPr>
            <a:r>
              <a:rPr lang="en-US" dirty="0"/>
              <a:t>Interview feedback</a:t>
            </a:r>
          </a:p>
          <a:p>
            <a:pPr marL="285750" indent="-285750">
              <a:buFont typeface="Arial" panose="020B0604020202020204" pitchFamily="34" charset="0"/>
              <a:buChar char="•"/>
            </a:pPr>
            <a:r>
              <a:rPr lang="en-US" dirty="0"/>
              <a:t>Tasks</a:t>
            </a:r>
          </a:p>
          <a:p>
            <a:pPr marL="285750" indent="-285750">
              <a:buFont typeface="Arial" panose="020B0604020202020204" pitchFamily="34" charset="0"/>
              <a:buChar char="•"/>
            </a:pPr>
            <a:endParaRPr lang="en-US" dirty="0"/>
          </a:p>
          <a:p>
            <a:pPr>
              <a:buNone/>
            </a:pPr>
            <a:endParaRPr lang="en-US" dirty="0"/>
          </a:p>
        </p:txBody>
      </p:sp>
      <p:pic>
        <p:nvPicPr>
          <p:cNvPr id="2" name="Picture 1">
            <a:extLst>
              <a:ext uri="{FF2B5EF4-FFF2-40B4-BE49-F238E27FC236}">
                <a16:creationId xmlns:a16="http://schemas.microsoft.com/office/drawing/2014/main" id="{B72C3643-0D09-BFD0-F559-8B4E1DC96BFF}"/>
              </a:ext>
            </a:extLst>
          </p:cNvPr>
          <p:cNvPicPr>
            <a:picLocks noChangeAspect="1"/>
          </p:cNvPicPr>
          <p:nvPr/>
        </p:nvPicPr>
        <p:blipFill>
          <a:blip r:embed="rId3"/>
          <a:srcRect r="55345"/>
          <a:stretch>
            <a:fillRect/>
          </a:stretch>
        </p:blipFill>
        <p:spPr>
          <a:xfrm>
            <a:off x="4713514" y="1322644"/>
            <a:ext cx="5824536" cy="4869155"/>
          </a:xfrm>
          <a:prstGeom prst="rect">
            <a:avLst/>
          </a:prstGeom>
        </p:spPr>
      </p:pic>
    </p:spTree>
    <p:extLst>
      <p:ext uri="{BB962C8B-B14F-4D97-AF65-F5344CB8AC3E}">
        <p14:creationId xmlns:p14="http://schemas.microsoft.com/office/powerpoint/2010/main" val="4837526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3D777D-2ED2-9AAA-8AF6-BF13643D0C0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E3637B-3BC0-C9F2-D3A1-5F3EAE38D61F}"/>
              </a:ext>
            </a:extLst>
          </p:cNvPr>
          <p:cNvSpPr>
            <a:spLocks noGrp="1"/>
          </p:cNvSpPr>
          <p:nvPr>
            <p:ph type="title"/>
          </p:nvPr>
        </p:nvSpPr>
        <p:spPr/>
        <p:txBody>
          <a:bodyPr/>
          <a:lstStyle/>
          <a:p>
            <a:r>
              <a:rPr lang="en-US" dirty="0"/>
              <a:t>Job requisition list view</a:t>
            </a:r>
          </a:p>
        </p:txBody>
      </p:sp>
      <p:sp>
        <p:nvSpPr>
          <p:cNvPr id="12" name="Content Placeholder 11">
            <a:extLst>
              <a:ext uri="{FF2B5EF4-FFF2-40B4-BE49-F238E27FC236}">
                <a16:creationId xmlns:a16="http://schemas.microsoft.com/office/drawing/2014/main" id="{D5AC7C36-5B6C-08BA-D015-83137E4401F3}"/>
              </a:ext>
            </a:extLst>
          </p:cNvPr>
          <p:cNvSpPr>
            <a:spLocks noGrp="1"/>
          </p:cNvSpPr>
          <p:nvPr>
            <p:ph type="body" sz="quarter" idx="16"/>
          </p:nvPr>
        </p:nvSpPr>
        <p:spPr>
          <a:xfrm>
            <a:off x="544830" y="1955800"/>
            <a:ext cx="4189216" cy="4270248"/>
          </a:xfrm>
        </p:spPr>
        <p:txBody>
          <a:bodyPr/>
          <a:lstStyle/>
          <a:p>
            <a:pPr>
              <a:buNone/>
            </a:pPr>
            <a:r>
              <a:rPr lang="en-US" dirty="0"/>
              <a:t>View job requisition details in the list view:</a:t>
            </a:r>
          </a:p>
          <a:p>
            <a:pPr marL="285750" indent="-285750">
              <a:buFont typeface="Arial" panose="020B0604020202020204" pitchFamily="34" charset="0"/>
              <a:buChar char="•"/>
            </a:pPr>
            <a:r>
              <a:rPr lang="en-US" dirty="0"/>
              <a:t>Number</a:t>
            </a:r>
          </a:p>
          <a:p>
            <a:pPr marL="285750" indent="-285750">
              <a:buFont typeface="Arial" panose="020B0604020202020204" pitchFamily="34" charset="0"/>
              <a:buChar char="•"/>
            </a:pPr>
            <a:r>
              <a:rPr lang="en-US" dirty="0"/>
              <a:t>Job title</a:t>
            </a:r>
          </a:p>
          <a:p>
            <a:pPr marL="285750" indent="-285750">
              <a:buFont typeface="Arial" panose="020B0604020202020204" pitchFamily="34" charset="0"/>
              <a:buChar char="•"/>
            </a:pPr>
            <a:r>
              <a:rPr lang="en-US" dirty="0"/>
              <a:t>Primary location</a:t>
            </a:r>
          </a:p>
          <a:p>
            <a:pPr marL="285750" indent="-285750">
              <a:buFont typeface="Arial" panose="020B0604020202020204" pitchFamily="34" charset="0"/>
              <a:buChar char="•"/>
            </a:pPr>
            <a:r>
              <a:rPr lang="en-US" dirty="0"/>
              <a:t>State</a:t>
            </a:r>
          </a:p>
          <a:p>
            <a:pPr marL="285750" indent="-285750">
              <a:buFont typeface="Arial" panose="020B0604020202020204" pitchFamily="34" charset="0"/>
              <a:buChar char="•"/>
            </a:pPr>
            <a:r>
              <a:rPr lang="en-US" dirty="0"/>
              <a:t>On hold</a:t>
            </a:r>
          </a:p>
          <a:p>
            <a:pPr marL="285750" indent="-285750">
              <a:buFont typeface="Arial" panose="020B0604020202020204" pitchFamily="34" charset="0"/>
              <a:buChar char="•"/>
            </a:pPr>
            <a:r>
              <a:rPr lang="en-US" dirty="0"/>
              <a:t>Hiring manager</a:t>
            </a:r>
          </a:p>
          <a:p>
            <a:pPr marL="285750" indent="-285750">
              <a:buFont typeface="Arial" panose="020B0604020202020204" pitchFamily="34" charset="0"/>
              <a:buChar char="•"/>
            </a:pPr>
            <a:r>
              <a:rPr lang="en-US" dirty="0"/>
              <a:t>Updated</a:t>
            </a:r>
          </a:p>
          <a:p>
            <a:pPr marL="285750" indent="-285750">
              <a:buFont typeface="Arial" panose="020B0604020202020204" pitchFamily="34" charset="0"/>
              <a:buChar char="•"/>
            </a:pPr>
            <a:endParaRPr lang="en-US" dirty="0"/>
          </a:p>
          <a:p>
            <a:pPr>
              <a:buNone/>
            </a:pPr>
            <a:endParaRPr lang="en-US" dirty="0"/>
          </a:p>
        </p:txBody>
      </p:sp>
      <p:pic>
        <p:nvPicPr>
          <p:cNvPr id="2" name="Picture 1">
            <a:extLst>
              <a:ext uri="{FF2B5EF4-FFF2-40B4-BE49-F238E27FC236}">
                <a16:creationId xmlns:a16="http://schemas.microsoft.com/office/drawing/2014/main" id="{2154206A-9A61-878A-232D-53DF9D68948A}"/>
              </a:ext>
            </a:extLst>
          </p:cNvPr>
          <p:cNvPicPr>
            <a:picLocks noChangeAspect="1"/>
          </p:cNvPicPr>
          <p:nvPr/>
        </p:nvPicPr>
        <p:blipFill>
          <a:blip r:embed="rId3"/>
          <a:srcRect l="16131"/>
          <a:stretch>
            <a:fillRect/>
          </a:stretch>
        </p:blipFill>
        <p:spPr>
          <a:xfrm>
            <a:off x="4876800" y="2329248"/>
            <a:ext cx="6754813" cy="3006590"/>
          </a:xfrm>
          <a:prstGeom prst="rect">
            <a:avLst/>
          </a:prstGeom>
        </p:spPr>
      </p:pic>
    </p:spTree>
    <p:extLst>
      <p:ext uri="{BB962C8B-B14F-4D97-AF65-F5344CB8AC3E}">
        <p14:creationId xmlns:p14="http://schemas.microsoft.com/office/powerpoint/2010/main" val="332878858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4A3AB-9713-B787-18B3-3CDCEA734FD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1A1226F-CCCC-67D3-0618-373C063C14F0}"/>
              </a:ext>
            </a:extLst>
          </p:cNvPr>
          <p:cNvSpPr>
            <a:spLocks noGrp="1"/>
          </p:cNvSpPr>
          <p:nvPr>
            <p:ph type="title"/>
          </p:nvPr>
        </p:nvSpPr>
        <p:spPr/>
        <p:txBody>
          <a:bodyPr/>
          <a:lstStyle/>
          <a:p>
            <a:r>
              <a:rPr lang="en-US" dirty="0"/>
              <a:t>Create new job requisition form</a:t>
            </a:r>
          </a:p>
        </p:txBody>
      </p:sp>
      <p:sp>
        <p:nvSpPr>
          <p:cNvPr id="12" name="Content Placeholder 11">
            <a:extLst>
              <a:ext uri="{FF2B5EF4-FFF2-40B4-BE49-F238E27FC236}">
                <a16:creationId xmlns:a16="http://schemas.microsoft.com/office/drawing/2014/main" id="{9726C7C3-B2FE-9379-122C-A8FB1FE7BFDA}"/>
              </a:ext>
            </a:extLst>
          </p:cNvPr>
          <p:cNvSpPr>
            <a:spLocks noGrp="1"/>
          </p:cNvSpPr>
          <p:nvPr>
            <p:ph type="body" sz="quarter" idx="16"/>
          </p:nvPr>
        </p:nvSpPr>
        <p:spPr>
          <a:xfrm>
            <a:off x="544830" y="1955800"/>
            <a:ext cx="5195570" cy="4270248"/>
          </a:xfrm>
        </p:spPr>
        <p:txBody>
          <a:bodyPr/>
          <a:lstStyle/>
          <a:p>
            <a:r>
              <a:rPr lang="en-US" dirty="0"/>
              <a:t>As a recruiter, complete the create new job requisition form to request a job opening in your organization.</a:t>
            </a:r>
          </a:p>
        </p:txBody>
      </p:sp>
      <p:pic>
        <p:nvPicPr>
          <p:cNvPr id="2" name="Picture 1">
            <a:extLst>
              <a:ext uri="{FF2B5EF4-FFF2-40B4-BE49-F238E27FC236}">
                <a16:creationId xmlns:a16="http://schemas.microsoft.com/office/drawing/2014/main" id="{E8B30E20-0642-1DF0-0374-BF6D15B4DE11}"/>
              </a:ext>
            </a:extLst>
          </p:cNvPr>
          <p:cNvPicPr>
            <a:picLocks noChangeAspect="1"/>
          </p:cNvPicPr>
          <p:nvPr/>
        </p:nvPicPr>
        <p:blipFill>
          <a:blip r:embed="rId3"/>
          <a:stretch>
            <a:fillRect/>
          </a:stretch>
        </p:blipFill>
        <p:spPr>
          <a:xfrm>
            <a:off x="5965323" y="1367115"/>
            <a:ext cx="5582832" cy="4847619"/>
          </a:xfrm>
          <a:prstGeom prst="rect">
            <a:avLst/>
          </a:prstGeom>
        </p:spPr>
      </p:pic>
    </p:spTree>
    <p:extLst>
      <p:ext uri="{BB962C8B-B14F-4D97-AF65-F5344CB8AC3E}">
        <p14:creationId xmlns:p14="http://schemas.microsoft.com/office/powerpoint/2010/main" val="239159137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08B91-01BF-BEDF-6C26-C7EC7BDA55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6AA948E-609D-29CA-FAB5-29A8A8E74852}"/>
              </a:ext>
            </a:extLst>
          </p:cNvPr>
          <p:cNvSpPr>
            <a:spLocks noGrp="1"/>
          </p:cNvSpPr>
          <p:nvPr>
            <p:ph type="title"/>
          </p:nvPr>
        </p:nvSpPr>
        <p:spPr/>
        <p:txBody>
          <a:bodyPr/>
          <a:lstStyle/>
          <a:p>
            <a:r>
              <a:rPr lang="en-US" dirty="0"/>
              <a:t>Job requisitions</a:t>
            </a:r>
          </a:p>
        </p:txBody>
      </p:sp>
      <p:sp>
        <p:nvSpPr>
          <p:cNvPr id="3" name="Text Placeholder 8">
            <a:extLst>
              <a:ext uri="{FF2B5EF4-FFF2-40B4-BE49-F238E27FC236}">
                <a16:creationId xmlns:a16="http://schemas.microsoft.com/office/drawing/2014/main" id="{A407189C-1B6A-F661-1C83-47B4C105D20E}"/>
              </a:ext>
            </a:extLst>
          </p:cNvPr>
          <p:cNvSpPr>
            <a:spLocks noGrp="1"/>
          </p:cNvSpPr>
          <p:nvPr>
            <p:ph type="subTitle" idx="13"/>
          </p:nvPr>
        </p:nvSpPr>
        <p:spPr/>
        <p:txBody>
          <a:bodyPr/>
          <a:lstStyle/>
          <a:p>
            <a:r>
              <a:rPr lang="en-US" dirty="0"/>
              <a:t>Related lists</a:t>
            </a:r>
          </a:p>
        </p:txBody>
      </p:sp>
      <p:sp>
        <p:nvSpPr>
          <p:cNvPr id="12" name="Content Placeholder 11">
            <a:extLst>
              <a:ext uri="{FF2B5EF4-FFF2-40B4-BE49-F238E27FC236}">
                <a16:creationId xmlns:a16="http://schemas.microsoft.com/office/drawing/2014/main" id="{34FD586D-48DB-B811-3BEB-E6CEEF9854E8}"/>
              </a:ext>
            </a:extLst>
          </p:cNvPr>
          <p:cNvSpPr>
            <a:spLocks noGrp="1"/>
          </p:cNvSpPr>
          <p:nvPr>
            <p:ph type="body" sz="quarter" idx="16"/>
          </p:nvPr>
        </p:nvSpPr>
        <p:spPr>
          <a:xfrm>
            <a:off x="544830" y="1955800"/>
            <a:ext cx="3390562" cy="4270248"/>
          </a:xfrm>
        </p:spPr>
        <p:txBody>
          <a:bodyPr/>
          <a:lstStyle/>
          <a:p>
            <a:r>
              <a:rPr lang="en-US" sz="1600" dirty="0"/>
              <a:t>View details related to each job requisition, including:</a:t>
            </a:r>
          </a:p>
          <a:p>
            <a:pPr marL="285750" indent="-285750">
              <a:buFont typeface="Arial" panose="020B0604020202020204" pitchFamily="34" charset="0"/>
              <a:buChar char="•"/>
            </a:pPr>
            <a:r>
              <a:rPr lang="en-US" sz="1600" dirty="0"/>
              <a:t>An overview of the applications, hiring team, and job details</a:t>
            </a:r>
          </a:p>
          <a:p>
            <a:pPr marL="285750" indent="-285750">
              <a:buFont typeface="Arial" panose="020B0604020202020204" pitchFamily="34" charset="0"/>
              <a:buChar char="•"/>
            </a:pPr>
            <a:r>
              <a:rPr lang="en-US" sz="1600" dirty="0"/>
              <a:t>Details of the information provided in the initial job requisition</a:t>
            </a:r>
          </a:p>
          <a:p>
            <a:pPr marL="285750" indent="-285750">
              <a:buFont typeface="Arial" panose="020B0604020202020204" pitchFamily="34" charset="0"/>
              <a:buChar char="•"/>
            </a:pPr>
            <a:r>
              <a:rPr lang="en-US" sz="1600" dirty="0"/>
              <a:t>Job description</a:t>
            </a:r>
          </a:p>
          <a:p>
            <a:pPr marL="285750" indent="-285750">
              <a:buFont typeface="Arial" panose="020B0604020202020204" pitchFamily="34" charset="0"/>
              <a:buChar char="•"/>
            </a:pPr>
            <a:r>
              <a:rPr lang="en-US" sz="1600" dirty="0"/>
              <a:t>Hiring team</a:t>
            </a:r>
          </a:p>
          <a:p>
            <a:pPr marL="285750" indent="-285750">
              <a:buFont typeface="Arial" panose="020B0604020202020204" pitchFamily="34" charset="0"/>
              <a:buChar char="•"/>
            </a:pPr>
            <a:r>
              <a:rPr lang="en-US" sz="1600" dirty="0"/>
              <a:t>Interview phases</a:t>
            </a:r>
          </a:p>
          <a:p>
            <a:pPr marL="285750" indent="-285750">
              <a:buFont typeface="Arial" panose="020B0604020202020204" pitchFamily="34" charset="0"/>
              <a:buChar char="•"/>
            </a:pPr>
            <a:r>
              <a:rPr lang="en-US" sz="1600" dirty="0"/>
              <a:t>Approvers &amp; approvals</a:t>
            </a:r>
          </a:p>
          <a:p>
            <a:pPr marL="285750" indent="-285750">
              <a:buFont typeface="Arial" panose="020B0604020202020204" pitchFamily="34" charset="0"/>
              <a:buChar char="•"/>
            </a:pPr>
            <a:r>
              <a:rPr lang="en-US" sz="1600" dirty="0"/>
              <a:t>Prospects</a:t>
            </a:r>
          </a:p>
          <a:p>
            <a:pPr>
              <a:buNone/>
            </a:pPr>
            <a:endParaRPr lang="en-US" sz="1600" dirty="0"/>
          </a:p>
          <a:p>
            <a:pPr marL="285750" indent="-285750">
              <a:buFont typeface="Arial" panose="020B0604020202020204" pitchFamily="34" charset="0"/>
              <a:buChar char="•"/>
            </a:pPr>
            <a:endParaRPr lang="en-US" sz="1600" dirty="0"/>
          </a:p>
          <a:p>
            <a:endParaRPr lang="en-US" sz="1600" dirty="0"/>
          </a:p>
        </p:txBody>
      </p:sp>
      <p:pic>
        <p:nvPicPr>
          <p:cNvPr id="2" name="Picture 1">
            <a:extLst>
              <a:ext uri="{FF2B5EF4-FFF2-40B4-BE49-F238E27FC236}">
                <a16:creationId xmlns:a16="http://schemas.microsoft.com/office/drawing/2014/main" id="{04992BE0-E6B7-46B7-08AA-E1C153682088}"/>
              </a:ext>
            </a:extLst>
          </p:cNvPr>
          <p:cNvPicPr>
            <a:picLocks noChangeAspect="1"/>
          </p:cNvPicPr>
          <p:nvPr/>
        </p:nvPicPr>
        <p:blipFill>
          <a:blip r:embed="rId3"/>
          <a:stretch>
            <a:fillRect/>
          </a:stretch>
        </p:blipFill>
        <p:spPr>
          <a:xfrm>
            <a:off x="4241088" y="2159168"/>
            <a:ext cx="7390525" cy="3402415"/>
          </a:xfrm>
          <a:prstGeom prst="rect">
            <a:avLst/>
          </a:prstGeom>
        </p:spPr>
      </p:pic>
    </p:spTree>
    <p:extLst>
      <p:ext uri="{BB962C8B-B14F-4D97-AF65-F5344CB8AC3E}">
        <p14:creationId xmlns:p14="http://schemas.microsoft.com/office/powerpoint/2010/main" val="13161546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33552-71CA-4090-561F-9AE317F9A0C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E638393-FC70-6BF0-9D35-997D40AC8E57}"/>
              </a:ext>
            </a:extLst>
          </p:cNvPr>
          <p:cNvSpPr>
            <a:spLocks noGrp="1"/>
          </p:cNvSpPr>
          <p:nvPr>
            <p:ph type="title"/>
          </p:nvPr>
        </p:nvSpPr>
        <p:spPr/>
        <p:txBody>
          <a:bodyPr/>
          <a:lstStyle/>
          <a:p>
            <a:r>
              <a:rPr lang="en-US" dirty="0"/>
              <a:t>Job requisitions</a:t>
            </a:r>
          </a:p>
        </p:txBody>
      </p:sp>
      <p:sp>
        <p:nvSpPr>
          <p:cNvPr id="9" name="Text Placeholder 8">
            <a:extLst>
              <a:ext uri="{FF2B5EF4-FFF2-40B4-BE49-F238E27FC236}">
                <a16:creationId xmlns:a16="http://schemas.microsoft.com/office/drawing/2014/main" id="{70C61982-A779-E2F7-4DF0-1884B725838D}"/>
              </a:ext>
            </a:extLst>
          </p:cNvPr>
          <p:cNvSpPr>
            <a:spLocks noGrp="1"/>
          </p:cNvSpPr>
          <p:nvPr>
            <p:ph type="subTitle" idx="13"/>
          </p:nvPr>
        </p:nvSpPr>
        <p:spPr/>
        <p:txBody>
          <a:bodyPr/>
          <a:lstStyle/>
          <a:p>
            <a:r>
              <a:rPr lang="en-US" dirty="0"/>
              <a:t>UI actions</a:t>
            </a:r>
          </a:p>
        </p:txBody>
      </p:sp>
      <p:sp>
        <p:nvSpPr>
          <p:cNvPr id="12" name="Content Placeholder 11">
            <a:extLst>
              <a:ext uri="{FF2B5EF4-FFF2-40B4-BE49-F238E27FC236}">
                <a16:creationId xmlns:a16="http://schemas.microsoft.com/office/drawing/2014/main" id="{C443E6BD-CDA3-8D58-E94A-2160BE046FCB}"/>
              </a:ext>
            </a:extLst>
          </p:cNvPr>
          <p:cNvSpPr>
            <a:spLocks noGrp="1"/>
          </p:cNvSpPr>
          <p:nvPr>
            <p:ph type="body" sz="quarter" idx="16"/>
          </p:nvPr>
        </p:nvSpPr>
        <p:spPr>
          <a:xfrm>
            <a:off x="544830" y="1955800"/>
            <a:ext cx="4825823" cy="4270248"/>
          </a:xfrm>
        </p:spPr>
        <p:txBody>
          <a:bodyPr/>
          <a:lstStyle/>
          <a:p>
            <a:r>
              <a:rPr lang="en-US" sz="1600" dirty="0"/>
              <a:t>Move the job requisition forward at the appropriate time in the process using the UI action buttons in the upper right corner: </a:t>
            </a:r>
          </a:p>
          <a:p>
            <a:pPr marL="285750" indent="-285750">
              <a:buFont typeface="Arial" panose="020B0604020202020204" pitchFamily="34" charset="0"/>
              <a:buChar char="•"/>
            </a:pPr>
            <a:r>
              <a:rPr lang="en-US" sz="1600" dirty="0"/>
              <a:t>Save</a:t>
            </a:r>
          </a:p>
          <a:p>
            <a:pPr marL="285750" indent="-285750">
              <a:buFont typeface="Arial" panose="020B0604020202020204" pitchFamily="34" charset="0"/>
              <a:buChar char="•"/>
            </a:pPr>
            <a:r>
              <a:rPr lang="en-US" sz="1600" dirty="0"/>
              <a:t>On hold</a:t>
            </a:r>
          </a:p>
          <a:p>
            <a:pPr marL="285750" indent="-285750">
              <a:buFont typeface="Arial" panose="020B0604020202020204" pitchFamily="34" charset="0"/>
              <a:buChar char="•"/>
            </a:pPr>
            <a:r>
              <a:rPr lang="en-US" sz="1600" dirty="0"/>
              <a:t>Resume</a:t>
            </a:r>
          </a:p>
          <a:p>
            <a:pPr marL="285750" indent="-285750">
              <a:buFont typeface="Arial" panose="020B0604020202020204" pitchFamily="34" charset="0"/>
              <a:buChar char="•"/>
            </a:pPr>
            <a:r>
              <a:rPr lang="en-US" sz="1600" dirty="0"/>
              <a:t>Submit for approval</a:t>
            </a:r>
          </a:p>
          <a:p>
            <a:pPr marL="285750" indent="-285750">
              <a:buFont typeface="Arial" panose="020B0604020202020204" pitchFamily="34" charset="0"/>
              <a:buChar char="•"/>
            </a:pPr>
            <a:r>
              <a:rPr lang="en-US" sz="1600" dirty="0"/>
              <a:t>Cancel approval</a:t>
            </a:r>
          </a:p>
          <a:p>
            <a:pPr marL="285750" indent="-285750">
              <a:buFont typeface="Arial" panose="020B0604020202020204" pitchFamily="34" charset="0"/>
              <a:buChar char="•"/>
            </a:pPr>
            <a:r>
              <a:rPr lang="en-US" sz="1600" dirty="0"/>
              <a:t>Resend for approval</a:t>
            </a:r>
          </a:p>
          <a:p>
            <a:pPr marL="285750" indent="-285750">
              <a:buFont typeface="Arial" panose="020B0604020202020204" pitchFamily="34" charset="0"/>
              <a:buChar char="•"/>
            </a:pPr>
            <a:r>
              <a:rPr lang="en-US" sz="1600" dirty="0"/>
              <a:t>Open requisition</a:t>
            </a:r>
          </a:p>
          <a:p>
            <a:pPr marL="285750" indent="-285750">
              <a:buFont typeface="Arial" panose="020B0604020202020204" pitchFamily="34" charset="0"/>
              <a:buChar char="•"/>
            </a:pPr>
            <a:r>
              <a:rPr lang="en-US" sz="1600" dirty="0"/>
              <a:t>Duplicate</a:t>
            </a:r>
          </a:p>
          <a:p>
            <a:pPr marL="285750" indent="-285750">
              <a:buFont typeface="Arial" panose="020B0604020202020204" pitchFamily="34" charset="0"/>
              <a:buChar char="•"/>
            </a:pPr>
            <a:r>
              <a:rPr lang="en-US" sz="1600" dirty="0"/>
              <a:t>Close</a:t>
            </a:r>
          </a:p>
        </p:txBody>
      </p:sp>
      <p:pic>
        <p:nvPicPr>
          <p:cNvPr id="5" name="Picture 4">
            <a:extLst>
              <a:ext uri="{FF2B5EF4-FFF2-40B4-BE49-F238E27FC236}">
                <a16:creationId xmlns:a16="http://schemas.microsoft.com/office/drawing/2014/main" id="{787FE77E-8085-4C8F-AE37-3CDB3D85CEE3}"/>
              </a:ext>
            </a:extLst>
          </p:cNvPr>
          <p:cNvPicPr>
            <a:picLocks noChangeAspect="1"/>
          </p:cNvPicPr>
          <p:nvPr/>
        </p:nvPicPr>
        <p:blipFill>
          <a:blip r:embed="rId2"/>
          <a:stretch>
            <a:fillRect/>
          </a:stretch>
        </p:blipFill>
        <p:spPr>
          <a:xfrm>
            <a:off x="6273478" y="1302091"/>
            <a:ext cx="4171288" cy="4948832"/>
          </a:xfrm>
          <a:prstGeom prst="rect">
            <a:avLst/>
          </a:prstGeom>
        </p:spPr>
      </p:pic>
    </p:spTree>
    <p:extLst>
      <p:ext uri="{BB962C8B-B14F-4D97-AF65-F5344CB8AC3E}">
        <p14:creationId xmlns:p14="http://schemas.microsoft.com/office/powerpoint/2010/main" val="70291388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0F678-C25E-861F-484E-89DABA3E81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FC0F801-2009-9516-EEB8-C970BC582779}"/>
              </a:ext>
            </a:extLst>
          </p:cNvPr>
          <p:cNvSpPr>
            <a:spLocks noGrp="1"/>
          </p:cNvSpPr>
          <p:nvPr>
            <p:ph type="title"/>
          </p:nvPr>
        </p:nvSpPr>
        <p:spPr/>
        <p:txBody>
          <a:bodyPr/>
          <a:lstStyle/>
          <a:p>
            <a:r>
              <a:rPr lang="en-US" dirty="0"/>
              <a:t>Job requisitions</a:t>
            </a:r>
          </a:p>
        </p:txBody>
      </p:sp>
      <p:sp>
        <p:nvSpPr>
          <p:cNvPr id="9" name="Text Placeholder 8">
            <a:extLst>
              <a:ext uri="{FF2B5EF4-FFF2-40B4-BE49-F238E27FC236}">
                <a16:creationId xmlns:a16="http://schemas.microsoft.com/office/drawing/2014/main" id="{0BC21655-C732-8D78-A412-D05917CCF707}"/>
              </a:ext>
            </a:extLst>
          </p:cNvPr>
          <p:cNvSpPr>
            <a:spLocks noGrp="1"/>
          </p:cNvSpPr>
          <p:nvPr>
            <p:ph type="subTitle" idx="13"/>
          </p:nvPr>
        </p:nvSpPr>
        <p:spPr/>
        <p:txBody>
          <a:bodyPr/>
          <a:lstStyle/>
          <a:p>
            <a:r>
              <a:rPr lang="en-US" dirty="0"/>
              <a:t>On hold reasons</a:t>
            </a:r>
          </a:p>
        </p:txBody>
      </p:sp>
      <p:sp>
        <p:nvSpPr>
          <p:cNvPr id="12" name="Content Placeholder 11">
            <a:extLst>
              <a:ext uri="{FF2B5EF4-FFF2-40B4-BE49-F238E27FC236}">
                <a16:creationId xmlns:a16="http://schemas.microsoft.com/office/drawing/2014/main" id="{BD7C3B98-EE7B-D0F9-BB08-D71F60CCE5E9}"/>
              </a:ext>
            </a:extLst>
          </p:cNvPr>
          <p:cNvSpPr>
            <a:spLocks noGrp="1"/>
          </p:cNvSpPr>
          <p:nvPr>
            <p:ph type="body" sz="quarter" idx="16"/>
          </p:nvPr>
        </p:nvSpPr>
        <p:spPr>
          <a:xfrm>
            <a:off x="544830" y="1955800"/>
            <a:ext cx="3402137" cy="4270248"/>
          </a:xfrm>
        </p:spPr>
        <p:txBody>
          <a:bodyPr/>
          <a:lstStyle/>
          <a:p>
            <a:r>
              <a:rPr lang="en-US" dirty="0"/>
              <a:t>When placing a job requisition on hold, select a valid reason.</a:t>
            </a:r>
          </a:p>
        </p:txBody>
      </p:sp>
      <p:pic>
        <p:nvPicPr>
          <p:cNvPr id="2" name="Picture 1">
            <a:extLst>
              <a:ext uri="{FF2B5EF4-FFF2-40B4-BE49-F238E27FC236}">
                <a16:creationId xmlns:a16="http://schemas.microsoft.com/office/drawing/2014/main" id="{F7B423B4-1E8D-6947-D036-1C724741C5CA}"/>
              </a:ext>
            </a:extLst>
          </p:cNvPr>
          <p:cNvPicPr>
            <a:picLocks noChangeAspect="1"/>
          </p:cNvPicPr>
          <p:nvPr/>
        </p:nvPicPr>
        <p:blipFill>
          <a:blip r:embed="rId2"/>
          <a:stretch>
            <a:fillRect/>
          </a:stretch>
        </p:blipFill>
        <p:spPr>
          <a:xfrm>
            <a:off x="4575595" y="1955800"/>
            <a:ext cx="7068400" cy="4068917"/>
          </a:xfrm>
          <a:prstGeom prst="rect">
            <a:avLst/>
          </a:prstGeom>
        </p:spPr>
      </p:pic>
    </p:spTree>
    <p:extLst>
      <p:ext uri="{BB962C8B-B14F-4D97-AF65-F5344CB8AC3E}">
        <p14:creationId xmlns:p14="http://schemas.microsoft.com/office/powerpoint/2010/main" val="25387277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48D76-6D06-6389-BEE6-2D4D567CE88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5FC8820-4055-A734-653C-F36C18A81CA2}"/>
              </a:ext>
            </a:extLst>
          </p:cNvPr>
          <p:cNvSpPr>
            <a:spLocks noGrp="1"/>
          </p:cNvSpPr>
          <p:nvPr>
            <p:ph type="title"/>
          </p:nvPr>
        </p:nvSpPr>
        <p:spPr/>
        <p:txBody>
          <a:bodyPr/>
          <a:lstStyle/>
          <a:p>
            <a:r>
              <a:rPr lang="en-US" dirty="0"/>
              <a:t>Talent acquisition dashboard</a:t>
            </a:r>
          </a:p>
        </p:txBody>
      </p:sp>
      <p:sp>
        <p:nvSpPr>
          <p:cNvPr id="12" name="Content Placeholder 11">
            <a:extLst>
              <a:ext uri="{FF2B5EF4-FFF2-40B4-BE49-F238E27FC236}">
                <a16:creationId xmlns:a16="http://schemas.microsoft.com/office/drawing/2014/main" id="{9AA8C962-3F53-257D-00F9-D85C005F398C}"/>
              </a:ext>
            </a:extLst>
          </p:cNvPr>
          <p:cNvSpPr>
            <a:spLocks noGrp="1"/>
          </p:cNvSpPr>
          <p:nvPr>
            <p:ph type="body" sz="quarter" idx="16"/>
          </p:nvPr>
        </p:nvSpPr>
        <p:spPr>
          <a:xfrm>
            <a:off x="544830" y="1955800"/>
            <a:ext cx="3066471" cy="4270248"/>
          </a:xfrm>
        </p:spPr>
        <p:txBody>
          <a:bodyPr/>
          <a:lstStyle/>
          <a:p>
            <a:r>
              <a:rPr lang="en-US" dirty="0"/>
              <a:t>View performance analytics reports to gain an overview of the workload and performance details of the hiring efforts in your organization.</a:t>
            </a:r>
          </a:p>
        </p:txBody>
      </p:sp>
      <p:pic>
        <p:nvPicPr>
          <p:cNvPr id="2" name="Picture 1">
            <a:extLst>
              <a:ext uri="{FF2B5EF4-FFF2-40B4-BE49-F238E27FC236}">
                <a16:creationId xmlns:a16="http://schemas.microsoft.com/office/drawing/2014/main" id="{5CE27853-A66A-DE4E-A522-1BE7A23817AB}"/>
              </a:ext>
            </a:extLst>
          </p:cNvPr>
          <p:cNvPicPr>
            <a:picLocks noChangeAspect="1"/>
          </p:cNvPicPr>
          <p:nvPr/>
        </p:nvPicPr>
        <p:blipFill>
          <a:blip r:embed="rId2"/>
          <a:stretch>
            <a:fillRect/>
          </a:stretch>
        </p:blipFill>
        <p:spPr>
          <a:xfrm>
            <a:off x="4666832" y="2239328"/>
            <a:ext cx="6964781" cy="2824544"/>
          </a:xfrm>
          <a:prstGeom prst="rect">
            <a:avLst/>
          </a:prstGeom>
        </p:spPr>
      </p:pic>
    </p:spTree>
    <p:extLst>
      <p:ext uri="{BB962C8B-B14F-4D97-AF65-F5344CB8AC3E}">
        <p14:creationId xmlns:p14="http://schemas.microsoft.com/office/powerpoint/2010/main" val="25842044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BA58D-8D1A-9ED4-28AF-4789C8F748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0AF7A1-60E8-6E09-E20C-790296E3BA53}"/>
              </a:ext>
            </a:extLst>
          </p:cNvPr>
          <p:cNvSpPr>
            <a:spLocks noGrp="1"/>
          </p:cNvSpPr>
          <p:nvPr>
            <p:ph type="title"/>
          </p:nvPr>
        </p:nvSpPr>
        <p:spPr>
          <a:xfrm>
            <a:off x="548640" y="553413"/>
            <a:ext cx="11089323" cy="4287420"/>
          </a:xfrm>
        </p:spPr>
        <p:txBody>
          <a:bodyPr/>
          <a:lstStyle/>
          <a:p>
            <a:r>
              <a:rPr lang="en-US" dirty="0">
                <a:solidFill>
                  <a:srgbClr val="63DF4E"/>
                </a:solidFill>
              </a:rPr>
              <a:t>Interview Management</a:t>
            </a:r>
          </a:p>
        </p:txBody>
      </p:sp>
    </p:spTree>
    <p:extLst>
      <p:ext uri="{BB962C8B-B14F-4D97-AF65-F5344CB8AC3E}">
        <p14:creationId xmlns:p14="http://schemas.microsoft.com/office/powerpoint/2010/main" val="33244945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D3FC1-8932-8D62-2733-D6A40777A11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52F52EA-0ABD-C06D-03F9-CA0A3621D80D}"/>
              </a:ext>
            </a:extLst>
          </p:cNvPr>
          <p:cNvSpPr>
            <a:spLocks noGrp="1"/>
          </p:cNvSpPr>
          <p:nvPr>
            <p:ph type="title"/>
          </p:nvPr>
        </p:nvSpPr>
        <p:spPr/>
        <p:txBody>
          <a:bodyPr/>
          <a:lstStyle/>
          <a:p>
            <a:r>
              <a:rPr lang="en-US" dirty="0"/>
              <a:t>Outlook integration</a:t>
            </a:r>
          </a:p>
        </p:txBody>
      </p:sp>
      <p:sp>
        <p:nvSpPr>
          <p:cNvPr id="12" name="Content Placeholder 11">
            <a:extLst>
              <a:ext uri="{FF2B5EF4-FFF2-40B4-BE49-F238E27FC236}">
                <a16:creationId xmlns:a16="http://schemas.microsoft.com/office/drawing/2014/main" id="{31284CD7-0A0C-23D7-2688-F5AE4C15E0F6}"/>
              </a:ext>
            </a:extLst>
          </p:cNvPr>
          <p:cNvSpPr>
            <a:spLocks noGrp="1"/>
          </p:cNvSpPr>
          <p:nvPr>
            <p:ph type="body" sz="quarter" idx="16"/>
          </p:nvPr>
        </p:nvSpPr>
        <p:spPr>
          <a:xfrm>
            <a:off x="544830" y="1955800"/>
            <a:ext cx="2962299" cy="4270248"/>
          </a:xfrm>
        </p:spPr>
        <p:txBody>
          <a:bodyPr/>
          <a:lstStyle/>
          <a:p>
            <a:r>
              <a:rPr lang="en-US" dirty="0"/>
              <a:t>Integrate with Outlook calendar to view valid interview times that are available for all interviewers and the applicant (who supplied their availability through the scheduling preferences form on the Applicant Center).</a:t>
            </a:r>
          </a:p>
        </p:txBody>
      </p:sp>
      <p:pic>
        <p:nvPicPr>
          <p:cNvPr id="2" name="Picture 1">
            <a:extLst>
              <a:ext uri="{FF2B5EF4-FFF2-40B4-BE49-F238E27FC236}">
                <a16:creationId xmlns:a16="http://schemas.microsoft.com/office/drawing/2014/main" id="{3507B6D1-DCEF-10A9-F855-41D8E63A2AE0}"/>
              </a:ext>
            </a:extLst>
          </p:cNvPr>
          <p:cNvPicPr>
            <a:picLocks noChangeAspect="1"/>
          </p:cNvPicPr>
          <p:nvPr/>
        </p:nvPicPr>
        <p:blipFill>
          <a:blip r:embed="rId3"/>
          <a:stretch>
            <a:fillRect/>
          </a:stretch>
        </p:blipFill>
        <p:spPr>
          <a:xfrm>
            <a:off x="3859213" y="1668835"/>
            <a:ext cx="7772400" cy="4658813"/>
          </a:xfrm>
          <a:prstGeom prst="rect">
            <a:avLst/>
          </a:prstGeom>
        </p:spPr>
      </p:pic>
      <p:sp>
        <p:nvSpPr>
          <p:cNvPr id="3" name="Rectangle 2">
            <a:extLst>
              <a:ext uri="{FF2B5EF4-FFF2-40B4-BE49-F238E27FC236}">
                <a16:creationId xmlns:a16="http://schemas.microsoft.com/office/drawing/2014/main" id="{BE51E659-2F1E-8B8D-A18D-630F2BA47EA1}"/>
              </a:ext>
            </a:extLst>
          </p:cNvPr>
          <p:cNvSpPr/>
          <p:nvPr/>
        </p:nvSpPr>
        <p:spPr>
          <a:xfrm>
            <a:off x="7745413" y="2656335"/>
            <a:ext cx="3727858" cy="44506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
        <p:nvSpPr>
          <p:cNvPr id="5" name="Rectangle 4">
            <a:extLst>
              <a:ext uri="{FF2B5EF4-FFF2-40B4-BE49-F238E27FC236}">
                <a16:creationId xmlns:a16="http://schemas.microsoft.com/office/drawing/2014/main" id="{1616CC4F-B410-A934-C38F-66C9A8224A75}"/>
              </a:ext>
            </a:extLst>
          </p:cNvPr>
          <p:cNvSpPr/>
          <p:nvPr/>
        </p:nvSpPr>
        <p:spPr>
          <a:xfrm>
            <a:off x="7353528" y="4269461"/>
            <a:ext cx="2516187" cy="166962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41543067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54324-F9DD-6653-9608-3673E28C6CC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650AC29-0A5A-153B-A7D3-18C5427FB0BE}"/>
              </a:ext>
            </a:extLst>
          </p:cNvPr>
          <p:cNvPicPr>
            <a:picLocks noChangeAspect="1"/>
          </p:cNvPicPr>
          <p:nvPr/>
        </p:nvPicPr>
        <p:blipFill>
          <a:blip r:embed="rId2"/>
          <a:srcRect l="7159"/>
          <a:stretch>
            <a:fillRect/>
          </a:stretch>
        </p:blipFill>
        <p:spPr>
          <a:xfrm>
            <a:off x="8741023" y="2415777"/>
            <a:ext cx="1856616" cy="2690475"/>
          </a:xfrm>
          <a:prstGeom prst="rect">
            <a:avLst/>
          </a:prstGeom>
        </p:spPr>
      </p:pic>
      <p:sp>
        <p:nvSpPr>
          <p:cNvPr id="5" name="Title 4">
            <a:extLst>
              <a:ext uri="{FF2B5EF4-FFF2-40B4-BE49-F238E27FC236}">
                <a16:creationId xmlns:a16="http://schemas.microsoft.com/office/drawing/2014/main" id="{765BB16D-2E5F-D7B8-C53D-2E4E528FC4E5}"/>
              </a:ext>
            </a:extLst>
          </p:cNvPr>
          <p:cNvSpPr>
            <a:spLocks noGrp="1"/>
          </p:cNvSpPr>
          <p:nvPr>
            <p:ph type="title"/>
          </p:nvPr>
        </p:nvSpPr>
        <p:spPr>
          <a:prstGeom prst="rect">
            <a:avLst/>
          </a:prstGeom>
        </p:spPr>
        <p:txBody>
          <a:bodyPr/>
          <a:lstStyle/>
          <a:p>
            <a:r>
              <a:rPr lang="en-US" dirty="0"/>
              <a:t>Deleting the PartnerLogo</a:t>
            </a:r>
          </a:p>
        </p:txBody>
      </p:sp>
      <p:sp>
        <p:nvSpPr>
          <p:cNvPr id="6" name="Subtitle 5">
            <a:extLst>
              <a:ext uri="{FF2B5EF4-FFF2-40B4-BE49-F238E27FC236}">
                <a16:creationId xmlns:a16="http://schemas.microsoft.com/office/drawing/2014/main" id="{89459CB0-8EE5-1040-0CDC-F29E9A02CD49}"/>
              </a:ext>
            </a:extLst>
          </p:cNvPr>
          <p:cNvSpPr>
            <a:spLocks noGrp="1"/>
          </p:cNvSpPr>
          <p:nvPr>
            <p:ph type="subTitle" idx="13"/>
          </p:nvPr>
        </p:nvSpPr>
        <p:spPr>
          <a:prstGeom prst="rect">
            <a:avLst/>
          </a:prstGeom>
        </p:spPr>
        <p:txBody>
          <a:bodyPr/>
          <a:lstStyle/>
          <a:p>
            <a:r>
              <a:rPr lang="en-US" b="1" dirty="0"/>
              <a:t>PLEASE REMOVE THIS SLIDE BEFORE PRESENTING</a:t>
            </a:r>
          </a:p>
        </p:txBody>
      </p:sp>
      <p:sp>
        <p:nvSpPr>
          <p:cNvPr id="7" name="Text Placeholder 6">
            <a:extLst>
              <a:ext uri="{FF2B5EF4-FFF2-40B4-BE49-F238E27FC236}">
                <a16:creationId xmlns:a16="http://schemas.microsoft.com/office/drawing/2014/main" id="{53E08FFA-2437-4EBB-73F6-31E5E9969B02}"/>
              </a:ext>
            </a:extLst>
          </p:cNvPr>
          <p:cNvSpPr>
            <a:spLocks noGrp="1"/>
          </p:cNvSpPr>
          <p:nvPr>
            <p:ph type="body" sz="quarter" idx="16"/>
          </p:nvPr>
        </p:nvSpPr>
        <p:spPr>
          <a:xfrm>
            <a:off x="544829" y="1956184"/>
            <a:ext cx="5924623" cy="4269136"/>
          </a:xfrm>
          <a:prstGeom prst="rect">
            <a:avLst/>
          </a:prstGeom>
        </p:spPr>
        <p:txBody>
          <a:bodyPr/>
          <a:lstStyle/>
          <a:p>
            <a:pPr>
              <a:buNone/>
            </a:pPr>
            <a:r>
              <a:rPr lang="en-US" sz="1600" i="1" dirty="0">
                <a:latin typeface="ServiceNow Sans Medium" panose="020B0504040101010104" pitchFamily="34" charset="77"/>
              </a:rPr>
              <a:t>What to do:</a:t>
            </a:r>
          </a:p>
          <a:p>
            <a:pPr marL="342797" indent="-342797">
              <a:buFont typeface="+mj-lt"/>
              <a:buAutoNum type="arabicPeriod"/>
            </a:pPr>
            <a:r>
              <a:rPr lang="en-US" sz="1600" dirty="0"/>
              <a:t>Click </a:t>
            </a:r>
            <a:r>
              <a:rPr lang="en-US" sz="1600" dirty="0">
                <a:latin typeface="ServiceNow Sans Medium" panose="020B0504040101010104" pitchFamily="34" charset="77"/>
              </a:rPr>
              <a:t>‘View’ </a:t>
            </a:r>
            <a:r>
              <a:rPr lang="en-US" sz="1600" dirty="0"/>
              <a:t>at the top of the screen.</a:t>
            </a:r>
          </a:p>
          <a:p>
            <a:pPr marL="342797" indent="-342797">
              <a:buFont typeface="+mj-lt"/>
              <a:buAutoNum type="arabicPeriod"/>
            </a:pPr>
            <a:r>
              <a:rPr lang="en-US" sz="1600" dirty="0"/>
              <a:t>Click on </a:t>
            </a:r>
            <a:r>
              <a:rPr lang="en-US" sz="1600" dirty="0">
                <a:latin typeface="ServiceNow Sans Medium" panose="020B0504040101010104" pitchFamily="34" charset="77"/>
              </a:rPr>
              <a:t>‘Slide Master’ </a:t>
            </a:r>
            <a:r>
              <a:rPr lang="en-US" sz="1600" dirty="0"/>
              <a:t>- this takes you to the slide master for the slide you are looking at.</a:t>
            </a:r>
          </a:p>
          <a:p>
            <a:pPr marL="342797" indent="-342797">
              <a:buFont typeface="+mj-lt"/>
              <a:buAutoNum type="arabicPeriod"/>
            </a:pPr>
            <a:r>
              <a:rPr lang="en-US" sz="1600" dirty="0"/>
              <a:t>Scroll up to </a:t>
            </a:r>
            <a:r>
              <a:rPr lang="en-US" sz="1600" dirty="0">
                <a:latin typeface="ServiceNow Sans Medium" panose="020B0504040101010104" pitchFamily="34" charset="77"/>
              </a:rPr>
              <a:t>Slide 1 </a:t>
            </a:r>
            <a:r>
              <a:rPr lang="en-US" sz="1600" dirty="0"/>
              <a:t>in the master view. You may have to pull out the view on the left slide, so you can see all the slides. Slide 1 will be the slide that looks larger than all the rest. It’s kind of the master of that group of slides. </a:t>
            </a:r>
          </a:p>
          <a:p>
            <a:pPr marL="342797" indent="-342797">
              <a:buFont typeface="+mj-lt"/>
              <a:buAutoNum type="arabicPeriod"/>
            </a:pPr>
            <a:r>
              <a:rPr lang="en-US" sz="1600" dirty="0"/>
              <a:t>At the bottom of the slide there are 2 shapes that you can highlight. A small vertical grey line and the PartnerLogo text.</a:t>
            </a:r>
          </a:p>
          <a:p>
            <a:pPr marL="342797" indent="-342797">
              <a:buFont typeface="+mj-lt"/>
              <a:buAutoNum type="arabicPeriod"/>
            </a:pPr>
            <a:r>
              <a:rPr lang="en-US" sz="1600" dirty="0"/>
              <a:t>Once highlighted, simply press delete. That </a:t>
            </a:r>
            <a:r>
              <a:rPr lang="en-US" sz="1600" i="1" dirty="0"/>
              <a:t>should</a:t>
            </a:r>
            <a:r>
              <a:rPr lang="en-US" sz="1600" dirty="0"/>
              <a:t> remove the PartnerLogo from the slides.</a:t>
            </a:r>
          </a:p>
          <a:p>
            <a:pPr>
              <a:buNone/>
            </a:pPr>
            <a:endParaRPr lang="en-US" sz="1600" b="1" dirty="0"/>
          </a:p>
          <a:p>
            <a:pPr>
              <a:buNone/>
            </a:pPr>
            <a:endParaRPr lang="en-US" sz="1600" dirty="0"/>
          </a:p>
        </p:txBody>
      </p:sp>
      <p:pic>
        <p:nvPicPr>
          <p:cNvPr id="12" name="Picture 11">
            <a:extLst>
              <a:ext uri="{FF2B5EF4-FFF2-40B4-BE49-F238E27FC236}">
                <a16:creationId xmlns:a16="http://schemas.microsoft.com/office/drawing/2014/main" id="{338699F8-7595-EA89-5EB9-F381A43B83C5}"/>
              </a:ext>
            </a:extLst>
          </p:cNvPr>
          <p:cNvPicPr>
            <a:picLocks noChangeAspect="1"/>
          </p:cNvPicPr>
          <p:nvPr/>
        </p:nvPicPr>
        <p:blipFill>
          <a:blip r:embed="rId3"/>
          <a:stretch>
            <a:fillRect/>
          </a:stretch>
        </p:blipFill>
        <p:spPr>
          <a:xfrm>
            <a:off x="6745458" y="1507762"/>
            <a:ext cx="4846264" cy="614783"/>
          </a:xfrm>
          <a:prstGeom prst="rect">
            <a:avLst/>
          </a:prstGeom>
        </p:spPr>
      </p:pic>
      <p:sp>
        <p:nvSpPr>
          <p:cNvPr id="13" name="Oval Callout 12">
            <a:extLst>
              <a:ext uri="{FF2B5EF4-FFF2-40B4-BE49-F238E27FC236}">
                <a16:creationId xmlns:a16="http://schemas.microsoft.com/office/drawing/2014/main" id="{B675F8B3-BCC0-DB30-A9FE-0C21065C74BB}"/>
              </a:ext>
            </a:extLst>
          </p:cNvPr>
          <p:cNvSpPr/>
          <p:nvPr/>
        </p:nvSpPr>
        <p:spPr>
          <a:xfrm>
            <a:off x="10084794" y="794293"/>
            <a:ext cx="512845" cy="487976"/>
          </a:xfrm>
          <a:prstGeom prst="wedgeEllipseCallout">
            <a:avLst>
              <a:gd name="adj1" fmla="val -25268"/>
              <a:gd name="adj2" fmla="val 102115"/>
            </a:avLst>
          </a:prstGeom>
          <a:solidFill>
            <a:srgbClr val="C2E6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03">
              <a:defRPr/>
            </a:pPr>
            <a:r>
              <a:rPr lang="en-US" sz="1600" b="1" dirty="0">
                <a:solidFill>
                  <a:schemeClr val="tx1"/>
                </a:solidFill>
                <a:latin typeface="Century Gothic" panose="020F0302020204030204"/>
              </a:rPr>
              <a:t>1.</a:t>
            </a:r>
          </a:p>
        </p:txBody>
      </p:sp>
      <p:sp>
        <p:nvSpPr>
          <p:cNvPr id="14" name="Oval Callout 13">
            <a:extLst>
              <a:ext uri="{FF2B5EF4-FFF2-40B4-BE49-F238E27FC236}">
                <a16:creationId xmlns:a16="http://schemas.microsoft.com/office/drawing/2014/main" id="{248B78F7-B069-8F8F-3B0F-D2720C7F04F6}"/>
              </a:ext>
            </a:extLst>
          </p:cNvPr>
          <p:cNvSpPr/>
          <p:nvPr/>
        </p:nvSpPr>
        <p:spPr>
          <a:xfrm>
            <a:off x="7906042" y="921535"/>
            <a:ext cx="512845" cy="487976"/>
          </a:xfrm>
          <a:prstGeom prst="wedgeEllipseCallout">
            <a:avLst>
              <a:gd name="adj1" fmla="val 10383"/>
              <a:gd name="adj2" fmla="val 98368"/>
            </a:avLst>
          </a:prstGeom>
          <a:solidFill>
            <a:srgbClr val="C2E6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03">
              <a:defRPr/>
            </a:pPr>
            <a:r>
              <a:rPr lang="en-US" sz="1600" b="1" dirty="0">
                <a:solidFill>
                  <a:schemeClr val="tx1"/>
                </a:solidFill>
                <a:latin typeface="Century Gothic" panose="020F0302020204030204"/>
              </a:rPr>
              <a:t>2.</a:t>
            </a:r>
          </a:p>
        </p:txBody>
      </p:sp>
      <p:sp>
        <p:nvSpPr>
          <p:cNvPr id="15" name="Oval Callout 14">
            <a:extLst>
              <a:ext uri="{FF2B5EF4-FFF2-40B4-BE49-F238E27FC236}">
                <a16:creationId xmlns:a16="http://schemas.microsoft.com/office/drawing/2014/main" id="{7D36C1D0-9BA3-A739-8039-548B9DAABC80}"/>
              </a:ext>
            </a:extLst>
          </p:cNvPr>
          <p:cNvSpPr/>
          <p:nvPr/>
        </p:nvSpPr>
        <p:spPr>
          <a:xfrm>
            <a:off x="8117211" y="2330715"/>
            <a:ext cx="512845" cy="487976"/>
          </a:xfrm>
          <a:prstGeom prst="wedgeEllipseCallout">
            <a:avLst>
              <a:gd name="adj1" fmla="val 65641"/>
              <a:gd name="adj2" fmla="val 96495"/>
            </a:avLst>
          </a:prstGeom>
          <a:solidFill>
            <a:srgbClr val="C2E6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03">
              <a:defRPr/>
            </a:pPr>
            <a:r>
              <a:rPr lang="en-US" sz="1600" b="1" dirty="0">
                <a:solidFill>
                  <a:schemeClr val="tx1"/>
                </a:solidFill>
                <a:latin typeface="Century Gothic" panose="020F0302020204030204"/>
              </a:rPr>
              <a:t>3.</a:t>
            </a:r>
          </a:p>
        </p:txBody>
      </p:sp>
      <p:pic>
        <p:nvPicPr>
          <p:cNvPr id="8" name="Picture 7">
            <a:extLst>
              <a:ext uri="{FF2B5EF4-FFF2-40B4-BE49-F238E27FC236}">
                <a16:creationId xmlns:a16="http://schemas.microsoft.com/office/drawing/2014/main" id="{ABA1E300-05D6-EB77-F64E-D8FAFFA1A15F}"/>
              </a:ext>
            </a:extLst>
          </p:cNvPr>
          <p:cNvPicPr>
            <a:picLocks noChangeAspect="1"/>
          </p:cNvPicPr>
          <p:nvPr/>
        </p:nvPicPr>
        <p:blipFill>
          <a:blip r:embed="rId4"/>
          <a:stretch>
            <a:fillRect/>
          </a:stretch>
        </p:blipFill>
        <p:spPr>
          <a:xfrm>
            <a:off x="8600592" y="5594228"/>
            <a:ext cx="2323495" cy="520564"/>
          </a:xfrm>
          <a:prstGeom prst="rect">
            <a:avLst/>
          </a:prstGeom>
        </p:spPr>
      </p:pic>
      <p:sp>
        <p:nvSpPr>
          <p:cNvPr id="16" name="Oval Callout 15">
            <a:extLst>
              <a:ext uri="{FF2B5EF4-FFF2-40B4-BE49-F238E27FC236}">
                <a16:creationId xmlns:a16="http://schemas.microsoft.com/office/drawing/2014/main" id="{A0681FF8-68D9-7123-21EC-6811E08FCE06}"/>
              </a:ext>
            </a:extLst>
          </p:cNvPr>
          <p:cNvSpPr/>
          <p:nvPr/>
        </p:nvSpPr>
        <p:spPr>
          <a:xfrm>
            <a:off x="8050172" y="5106253"/>
            <a:ext cx="512845" cy="487976"/>
          </a:xfrm>
          <a:prstGeom prst="wedgeEllipseCallout">
            <a:avLst>
              <a:gd name="adj1" fmla="val 65641"/>
              <a:gd name="adj2" fmla="val 96495"/>
            </a:avLst>
          </a:prstGeom>
          <a:solidFill>
            <a:srgbClr val="C2E6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03">
              <a:defRPr/>
            </a:pPr>
            <a:r>
              <a:rPr lang="en-US" sz="1600" b="1" dirty="0">
                <a:solidFill>
                  <a:schemeClr val="tx1"/>
                </a:solidFill>
                <a:latin typeface="Century Gothic" panose="020F0302020204030204"/>
              </a:rPr>
              <a:t>4.</a:t>
            </a:r>
          </a:p>
        </p:txBody>
      </p:sp>
      <p:sp>
        <p:nvSpPr>
          <p:cNvPr id="18" name="Oval Callout 17">
            <a:extLst>
              <a:ext uri="{FF2B5EF4-FFF2-40B4-BE49-F238E27FC236}">
                <a16:creationId xmlns:a16="http://schemas.microsoft.com/office/drawing/2014/main" id="{2ECBF773-C75C-0CD2-8321-A5BAAEB10A85}"/>
              </a:ext>
            </a:extLst>
          </p:cNvPr>
          <p:cNvSpPr/>
          <p:nvPr/>
        </p:nvSpPr>
        <p:spPr>
          <a:xfrm>
            <a:off x="10961664" y="5176338"/>
            <a:ext cx="512845" cy="487976"/>
          </a:xfrm>
          <a:prstGeom prst="wedgeEllipseCallout">
            <a:avLst>
              <a:gd name="adj1" fmla="val -93004"/>
              <a:gd name="adj2" fmla="val 98368"/>
            </a:avLst>
          </a:prstGeom>
          <a:solidFill>
            <a:srgbClr val="C2E6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03">
              <a:defRPr/>
            </a:pPr>
            <a:r>
              <a:rPr lang="en-US" sz="1600" b="1" dirty="0">
                <a:solidFill>
                  <a:schemeClr val="tx1"/>
                </a:solidFill>
                <a:latin typeface="Century Gothic" panose="020F0302020204030204"/>
              </a:rPr>
              <a:t>5.</a:t>
            </a:r>
          </a:p>
        </p:txBody>
      </p:sp>
      <p:sp>
        <p:nvSpPr>
          <p:cNvPr id="19" name="Rounded Rectangle 14">
            <a:extLst>
              <a:ext uri="{FF2B5EF4-FFF2-40B4-BE49-F238E27FC236}">
                <a16:creationId xmlns:a16="http://schemas.microsoft.com/office/drawing/2014/main" id="{57A05030-592C-E22F-1D62-DAF2642BEA1F}"/>
              </a:ext>
              <a:ext uri="{C183D7F6-B498-43B3-948B-1728B52AA6E4}">
                <adec:decorative xmlns:adec="http://schemas.microsoft.com/office/drawing/2017/decorative" val="1"/>
              </a:ext>
            </a:extLst>
          </p:cNvPr>
          <p:cNvSpPr/>
          <p:nvPr/>
        </p:nvSpPr>
        <p:spPr>
          <a:xfrm>
            <a:off x="9660449" y="5534554"/>
            <a:ext cx="1301214" cy="639913"/>
          </a:xfrm>
          <a:prstGeom prst="roundRect">
            <a:avLst>
              <a:gd name="adj" fmla="val 11249"/>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bg1"/>
              </a:solidFill>
              <a:latin typeface="ServiceNow Sans Medium" panose="020B0504040101010104" pitchFamily="34" charset="77"/>
              <a:cs typeface="ServiceNow Sans" panose="020B0504040101010104" pitchFamily="34" charset="77"/>
            </a:endParaRPr>
          </a:p>
        </p:txBody>
      </p:sp>
    </p:spTree>
    <p:extLst>
      <p:ext uri="{BB962C8B-B14F-4D97-AF65-F5344CB8AC3E}">
        <p14:creationId xmlns:p14="http://schemas.microsoft.com/office/powerpoint/2010/main" val="35414005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4B545-F54F-0D0F-6AE4-95355233317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4C7FF9E-1D3A-AB68-3CB4-6DF3B6C17426}"/>
              </a:ext>
            </a:extLst>
          </p:cNvPr>
          <p:cNvSpPr>
            <a:spLocks noGrp="1"/>
          </p:cNvSpPr>
          <p:nvPr>
            <p:ph type="title"/>
          </p:nvPr>
        </p:nvSpPr>
        <p:spPr>
          <a:xfrm>
            <a:off x="548640" y="530352"/>
            <a:ext cx="11082973" cy="594360"/>
          </a:xfrm>
        </p:spPr>
        <p:txBody>
          <a:bodyPr/>
          <a:lstStyle/>
          <a:p>
            <a:r>
              <a:rPr lang="en-US" dirty="0"/>
              <a:t>Zoom integration</a:t>
            </a:r>
          </a:p>
        </p:txBody>
      </p:sp>
      <p:sp>
        <p:nvSpPr>
          <p:cNvPr id="12" name="Content Placeholder 11">
            <a:extLst>
              <a:ext uri="{FF2B5EF4-FFF2-40B4-BE49-F238E27FC236}">
                <a16:creationId xmlns:a16="http://schemas.microsoft.com/office/drawing/2014/main" id="{D4EEFC75-6B45-189D-0146-BE31C8AC7984}"/>
              </a:ext>
            </a:extLst>
          </p:cNvPr>
          <p:cNvSpPr>
            <a:spLocks noGrp="1"/>
          </p:cNvSpPr>
          <p:nvPr>
            <p:ph type="body" sz="quarter" idx="16"/>
          </p:nvPr>
        </p:nvSpPr>
        <p:spPr>
          <a:xfrm>
            <a:off x="544830" y="1955800"/>
            <a:ext cx="3170643" cy="4270248"/>
          </a:xfrm>
        </p:spPr>
        <p:txBody>
          <a:bodyPr/>
          <a:lstStyle/>
          <a:p>
            <a:r>
              <a:rPr lang="en-US" dirty="0"/>
              <a:t>Configure Zoom to seamlessly integrate meeting invites originating from Hiring Experiences with your Zoom account.</a:t>
            </a:r>
          </a:p>
          <a:p>
            <a:br>
              <a:rPr lang="en-US" dirty="0"/>
            </a:br>
            <a:endParaRPr lang="en-US" dirty="0"/>
          </a:p>
        </p:txBody>
      </p:sp>
      <p:pic>
        <p:nvPicPr>
          <p:cNvPr id="2" name="Picture 1">
            <a:extLst>
              <a:ext uri="{FF2B5EF4-FFF2-40B4-BE49-F238E27FC236}">
                <a16:creationId xmlns:a16="http://schemas.microsoft.com/office/drawing/2014/main" id="{66D99B57-DB77-ED0F-1DD2-895D200FE0C1}"/>
              </a:ext>
            </a:extLst>
          </p:cNvPr>
          <p:cNvPicPr>
            <a:picLocks noChangeAspect="1"/>
          </p:cNvPicPr>
          <p:nvPr/>
        </p:nvPicPr>
        <p:blipFill>
          <a:blip r:embed="rId2"/>
          <a:stretch>
            <a:fillRect/>
          </a:stretch>
        </p:blipFill>
        <p:spPr>
          <a:xfrm>
            <a:off x="3859213" y="1955800"/>
            <a:ext cx="7772400" cy="4025395"/>
          </a:xfrm>
          <a:prstGeom prst="rect">
            <a:avLst/>
          </a:prstGeom>
        </p:spPr>
      </p:pic>
      <p:sp>
        <p:nvSpPr>
          <p:cNvPr id="3" name="Rectangle 2">
            <a:extLst>
              <a:ext uri="{FF2B5EF4-FFF2-40B4-BE49-F238E27FC236}">
                <a16:creationId xmlns:a16="http://schemas.microsoft.com/office/drawing/2014/main" id="{256CDB70-9926-1FB8-C954-E0ED6E305FAD}"/>
              </a:ext>
            </a:extLst>
          </p:cNvPr>
          <p:cNvSpPr/>
          <p:nvPr/>
        </p:nvSpPr>
        <p:spPr>
          <a:xfrm>
            <a:off x="4017554" y="4090924"/>
            <a:ext cx="6135189" cy="44506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40382484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9DD51-91C4-08B4-E702-DC5BC02B83F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C559A86-2ACC-7F40-A6F3-AEDBEDB82E23}"/>
              </a:ext>
            </a:extLst>
          </p:cNvPr>
          <p:cNvSpPr>
            <a:spLocks noGrp="1"/>
          </p:cNvSpPr>
          <p:nvPr>
            <p:ph type="title"/>
          </p:nvPr>
        </p:nvSpPr>
        <p:spPr/>
        <p:txBody>
          <a:bodyPr/>
          <a:lstStyle/>
          <a:p>
            <a:r>
              <a:rPr lang="en-US" dirty="0"/>
              <a:t>Scheduling preferences form</a:t>
            </a:r>
          </a:p>
        </p:txBody>
      </p:sp>
      <p:sp>
        <p:nvSpPr>
          <p:cNvPr id="12" name="Content Placeholder 11">
            <a:extLst>
              <a:ext uri="{FF2B5EF4-FFF2-40B4-BE49-F238E27FC236}">
                <a16:creationId xmlns:a16="http://schemas.microsoft.com/office/drawing/2014/main" id="{537D05C6-0359-31E3-E401-E598488EEC05}"/>
              </a:ext>
            </a:extLst>
          </p:cNvPr>
          <p:cNvSpPr>
            <a:spLocks noGrp="1"/>
          </p:cNvSpPr>
          <p:nvPr>
            <p:ph type="body" sz="quarter" idx="16"/>
          </p:nvPr>
        </p:nvSpPr>
        <p:spPr>
          <a:xfrm>
            <a:off x="544830" y="1955800"/>
            <a:ext cx="4362836" cy="4270248"/>
          </a:xfrm>
        </p:spPr>
        <p:txBody>
          <a:bodyPr/>
          <a:lstStyle/>
          <a:p>
            <a:r>
              <a:rPr lang="en-US" dirty="0"/>
              <a:t>The scheduling preferences form provides the fields required to request an applicant or interviewer to share their scheduling preferences for upcoming interviews.</a:t>
            </a:r>
          </a:p>
          <a:p>
            <a:br>
              <a:rPr lang="en-US" dirty="0"/>
            </a:br>
            <a:br>
              <a:rPr lang="en-US" dirty="0"/>
            </a:br>
            <a:endParaRPr lang="en-US" dirty="0"/>
          </a:p>
        </p:txBody>
      </p:sp>
      <p:pic>
        <p:nvPicPr>
          <p:cNvPr id="2" name="Picture 1">
            <a:extLst>
              <a:ext uri="{FF2B5EF4-FFF2-40B4-BE49-F238E27FC236}">
                <a16:creationId xmlns:a16="http://schemas.microsoft.com/office/drawing/2014/main" id="{903D3384-FA63-6A88-C5F4-CA1012173C27}"/>
              </a:ext>
            </a:extLst>
          </p:cNvPr>
          <p:cNvPicPr>
            <a:picLocks noChangeAspect="1"/>
          </p:cNvPicPr>
          <p:nvPr/>
        </p:nvPicPr>
        <p:blipFill>
          <a:blip r:embed="rId2"/>
          <a:stretch>
            <a:fillRect/>
          </a:stretch>
        </p:blipFill>
        <p:spPr>
          <a:xfrm>
            <a:off x="5822733" y="1222409"/>
            <a:ext cx="4781767" cy="5069392"/>
          </a:xfrm>
          <a:prstGeom prst="rect">
            <a:avLst/>
          </a:prstGeom>
        </p:spPr>
      </p:pic>
    </p:spTree>
    <p:extLst>
      <p:ext uri="{BB962C8B-B14F-4D97-AF65-F5344CB8AC3E}">
        <p14:creationId xmlns:p14="http://schemas.microsoft.com/office/powerpoint/2010/main" val="194146319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F9A0D-564B-57F8-8D30-077749EDC26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C941523-720E-5251-72BD-0C11B641302C}"/>
              </a:ext>
            </a:extLst>
          </p:cNvPr>
          <p:cNvSpPr>
            <a:spLocks noGrp="1"/>
          </p:cNvSpPr>
          <p:nvPr>
            <p:ph type="title"/>
          </p:nvPr>
        </p:nvSpPr>
        <p:spPr>
          <a:xfrm>
            <a:off x="548640" y="530352"/>
            <a:ext cx="11082973" cy="594360"/>
          </a:xfrm>
        </p:spPr>
        <p:txBody>
          <a:bodyPr/>
          <a:lstStyle/>
          <a:p>
            <a:r>
              <a:rPr lang="en-US" dirty="0"/>
              <a:t>Schedule interview form</a:t>
            </a:r>
          </a:p>
        </p:txBody>
      </p:sp>
      <p:sp>
        <p:nvSpPr>
          <p:cNvPr id="12" name="Content Placeholder 11">
            <a:extLst>
              <a:ext uri="{FF2B5EF4-FFF2-40B4-BE49-F238E27FC236}">
                <a16:creationId xmlns:a16="http://schemas.microsoft.com/office/drawing/2014/main" id="{A4752A37-BBCC-6156-A4D5-E821E673A728}"/>
              </a:ext>
            </a:extLst>
          </p:cNvPr>
          <p:cNvSpPr>
            <a:spLocks noGrp="1"/>
          </p:cNvSpPr>
          <p:nvPr>
            <p:ph type="body" sz="quarter" idx="16"/>
          </p:nvPr>
        </p:nvSpPr>
        <p:spPr>
          <a:xfrm>
            <a:off x="544830" y="1955800"/>
            <a:ext cx="3036570" cy="4270248"/>
          </a:xfrm>
        </p:spPr>
        <p:txBody>
          <a:bodyPr/>
          <a:lstStyle/>
          <a:p>
            <a:r>
              <a:rPr lang="en-US" dirty="0"/>
              <a:t>The schedule interview form contains the fields required to schedule an interview with an applicant.</a:t>
            </a:r>
          </a:p>
          <a:p>
            <a:endParaRPr lang="en-US" dirty="0"/>
          </a:p>
        </p:txBody>
      </p:sp>
      <p:pic>
        <p:nvPicPr>
          <p:cNvPr id="2" name="Picture 1">
            <a:extLst>
              <a:ext uri="{FF2B5EF4-FFF2-40B4-BE49-F238E27FC236}">
                <a16:creationId xmlns:a16="http://schemas.microsoft.com/office/drawing/2014/main" id="{FFD4619A-0659-9122-B5EB-4DD58C39BD49}"/>
              </a:ext>
            </a:extLst>
          </p:cNvPr>
          <p:cNvPicPr>
            <a:picLocks noChangeAspect="1"/>
          </p:cNvPicPr>
          <p:nvPr/>
        </p:nvPicPr>
        <p:blipFill>
          <a:blip r:embed="rId2"/>
          <a:stretch>
            <a:fillRect/>
          </a:stretch>
        </p:blipFill>
        <p:spPr>
          <a:xfrm>
            <a:off x="4026127" y="1668836"/>
            <a:ext cx="7605486" cy="4558764"/>
          </a:xfrm>
          <a:prstGeom prst="rect">
            <a:avLst/>
          </a:prstGeom>
        </p:spPr>
      </p:pic>
    </p:spTree>
    <p:extLst>
      <p:ext uri="{BB962C8B-B14F-4D97-AF65-F5344CB8AC3E}">
        <p14:creationId xmlns:p14="http://schemas.microsoft.com/office/powerpoint/2010/main" val="18163114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15B2B-ECE3-0BBE-8EEF-170295209AF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720B4E4-0546-BA26-0D9A-9F5D643787C6}"/>
              </a:ext>
            </a:extLst>
          </p:cNvPr>
          <p:cNvSpPr>
            <a:spLocks noGrp="1"/>
          </p:cNvSpPr>
          <p:nvPr>
            <p:ph type="title"/>
          </p:nvPr>
        </p:nvSpPr>
        <p:spPr/>
        <p:txBody>
          <a:bodyPr/>
          <a:lstStyle/>
          <a:p>
            <a:r>
              <a:rPr lang="en-US" dirty="0"/>
              <a:t>Interview phase templates</a:t>
            </a:r>
          </a:p>
        </p:txBody>
      </p:sp>
      <p:sp>
        <p:nvSpPr>
          <p:cNvPr id="9" name="Text Placeholder 8">
            <a:extLst>
              <a:ext uri="{FF2B5EF4-FFF2-40B4-BE49-F238E27FC236}">
                <a16:creationId xmlns:a16="http://schemas.microsoft.com/office/drawing/2014/main" id="{6F4C40FC-EA14-E312-2BC0-AFEE2491AD5F}"/>
              </a:ext>
            </a:extLst>
          </p:cNvPr>
          <p:cNvSpPr>
            <a:spLocks noGrp="1"/>
          </p:cNvSpPr>
          <p:nvPr>
            <p:ph type="subTitle" idx="13"/>
          </p:nvPr>
        </p:nvSpPr>
        <p:spPr/>
        <p:txBody>
          <a:bodyPr/>
          <a:lstStyle/>
          <a:p>
            <a:r>
              <a:rPr lang="en-US" dirty="0"/>
              <a:t>Types of interviews</a:t>
            </a:r>
          </a:p>
        </p:txBody>
      </p:sp>
      <p:sp>
        <p:nvSpPr>
          <p:cNvPr id="12" name="Content Placeholder 11">
            <a:extLst>
              <a:ext uri="{FF2B5EF4-FFF2-40B4-BE49-F238E27FC236}">
                <a16:creationId xmlns:a16="http://schemas.microsoft.com/office/drawing/2014/main" id="{C65941E8-CB18-78DC-59A7-2BDBD582237C}"/>
              </a:ext>
            </a:extLst>
          </p:cNvPr>
          <p:cNvSpPr>
            <a:spLocks noGrp="1"/>
          </p:cNvSpPr>
          <p:nvPr>
            <p:ph type="body" sz="quarter" idx="16"/>
          </p:nvPr>
        </p:nvSpPr>
        <p:spPr>
          <a:xfrm>
            <a:off x="544830" y="1955800"/>
            <a:ext cx="2904426" cy="4270248"/>
          </a:xfrm>
        </p:spPr>
        <p:txBody>
          <a:bodyPr/>
          <a:lstStyle/>
          <a:p>
            <a:r>
              <a:rPr lang="en-US" dirty="0"/>
              <a:t>Interview phase templates can be defined to ensure each type of interview is structured with the appropriate details, including:</a:t>
            </a:r>
          </a:p>
          <a:p>
            <a:pPr marL="285750" indent="-285750">
              <a:buFont typeface="Arial" panose="020B0604020202020204" pitchFamily="34" charset="0"/>
              <a:buChar char="•"/>
            </a:pPr>
            <a:r>
              <a:rPr lang="en-US" dirty="0"/>
              <a:t>Format of the interview (one-on-one, panel)</a:t>
            </a:r>
          </a:p>
          <a:p>
            <a:pPr marL="285750" indent="-285750">
              <a:buFont typeface="Arial" panose="020B0604020202020204" pitchFamily="34" charset="0"/>
              <a:buChar char="•"/>
            </a:pPr>
            <a:r>
              <a:rPr lang="en-US" dirty="0"/>
              <a:t>Channel (Zoom, phone call, in person)</a:t>
            </a:r>
          </a:p>
          <a:p>
            <a:pPr marL="285750" indent="-285750">
              <a:buFont typeface="Arial" panose="020B0604020202020204" pitchFamily="34" charset="0"/>
              <a:buChar char="•"/>
            </a:pPr>
            <a:r>
              <a:rPr lang="en-US" dirty="0"/>
              <a:t>Duration</a:t>
            </a:r>
          </a:p>
          <a:p>
            <a:pPr marL="285750" indent="-285750">
              <a:buFont typeface="Arial" panose="020B0604020202020204" pitchFamily="34" charset="0"/>
              <a:buChar char="•"/>
            </a:pPr>
            <a:r>
              <a:rPr lang="en-US" dirty="0"/>
              <a:t>Order</a:t>
            </a:r>
          </a:p>
        </p:txBody>
      </p:sp>
      <p:pic>
        <p:nvPicPr>
          <p:cNvPr id="5" name="Picture 4">
            <a:extLst>
              <a:ext uri="{FF2B5EF4-FFF2-40B4-BE49-F238E27FC236}">
                <a16:creationId xmlns:a16="http://schemas.microsoft.com/office/drawing/2014/main" id="{5355C8CE-70F6-010F-4A12-0E5E703F0BDF}"/>
              </a:ext>
            </a:extLst>
          </p:cNvPr>
          <p:cNvPicPr>
            <a:picLocks noChangeAspect="1"/>
          </p:cNvPicPr>
          <p:nvPr/>
        </p:nvPicPr>
        <p:blipFill>
          <a:blip r:embed="rId3"/>
          <a:stretch>
            <a:fillRect/>
          </a:stretch>
        </p:blipFill>
        <p:spPr>
          <a:xfrm>
            <a:off x="3985039" y="1955800"/>
            <a:ext cx="7646574" cy="2781300"/>
          </a:xfrm>
          <a:prstGeom prst="rect">
            <a:avLst/>
          </a:prstGeom>
        </p:spPr>
      </p:pic>
    </p:spTree>
    <p:extLst>
      <p:ext uri="{BB962C8B-B14F-4D97-AF65-F5344CB8AC3E}">
        <p14:creationId xmlns:p14="http://schemas.microsoft.com/office/powerpoint/2010/main" val="14309841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CC8D4-5B42-1479-32CC-8DDB0F8C03B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0C9EB5D-B1B8-926C-B32E-B7F426A0BF50}"/>
              </a:ext>
            </a:extLst>
          </p:cNvPr>
          <p:cNvSpPr>
            <a:spLocks noGrp="1"/>
          </p:cNvSpPr>
          <p:nvPr>
            <p:ph type="title"/>
          </p:nvPr>
        </p:nvSpPr>
        <p:spPr/>
        <p:txBody>
          <a:bodyPr/>
          <a:lstStyle/>
          <a:p>
            <a:r>
              <a:rPr lang="en-US" dirty="0"/>
              <a:t>Interview invite email templates</a:t>
            </a:r>
          </a:p>
        </p:txBody>
      </p:sp>
      <p:sp>
        <p:nvSpPr>
          <p:cNvPr id="12" name="Content Placeholder 11">
            <a:extLst>
              <a:ext uri="{FF2B5EF4-FFF2-40B4-BE49-F238E27FC236}">
                <a16:creationId xmlns:a16="http://schemas.microsoft.com/office/drawing/2014/main" id="{5BC4AC09-C147-00C1-4DEC-8B38D8C63775}"/>
              </a:ext>
            </a:extLst>
          </p:cNvPr>
          <p:cNvSpPr>
            <a:spLocks noGrp="1"/>
          </p:cNvSpPr>
          <p:nvPr>
            <p:ph type="body" sz="quarter" idx="16"/>
          </p:nvPr>
        </p:nvSpPr>
        <p:spPr>
          <a:xfrm>
            <a:off x="544830" y="1955800"/>
            <a:ext cx="3170643" cy="4270248"/>
          </a:xfrm>
        </p:spPr>
        <p:txBody>
          <a:bodyPr/>
          <a:lstStyle/>
          <a:p>
            <a:r>
              <a:rPr lang="en-US" dirty="0"/>
              <a:t>Interview templates are available for recruiters to use to streamline the interview scheduling process.</a:t>
            </a:r>
          </a:p>
        </p:txBody>
      </p:sp>
      <p:pic>
        <p:nvPicPr>
          <p:cNvPr id="2" name="Picture 1">
            <a:extLst>
              <a:ext uri="{FF2B5EF4-FFF2-40B4-BE49-F238E27FC236}">
                <a16:creationId xmlns:a16="http://schemas.microsoft.com/office/drawing/2014/main" id="{CAA0F3D8-97EA-E586-7402-881AA5A5F9E6}"/>
              </a:ext>
            </a:extLst>
          </p:cNvPr>
          <p:cNvPicPr>
            <a:picLocks noChangeAspect="1"/>
          </p:cNvPicPr>
          <p:nvPr/>
        </p:nvPicPr>
        <p:blipFill>
          <a:blip r:embed="rId2"/>
          <a:stretch>
            <a:fillRect/>
          </a:stretch>
        </p:blipFill>
        <p:spPr>
          <a:xfrm>
            <a:off x="3859213" y="1802649"/>
            <a:ext cx="7772400" cy="4120812"/>
          </a:xfrm>
          <a:prstGeom prst="rect">
            <a:avLst/>
          </a:prstGeom>
        </p:spPr>
      </p:pic>
    </p:spTree>
    <p:extLst>
      <p:ext uri="{BB962C8B-B14F-4D97-AF65-F5344CB8AC3E}">
        <p14:creationId xmlns:p14="http://schemas.microsoft.com/office/powerpoint/2010/main" val="138372881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F743A-4311-6698-A7F9-8CBF416BD7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B8AFEDC-A63B-2C08-74B9-58F75E08A7F5}"/>
              </a:ext>
            </a:extLst>
          </p:cNvPr>
          <p:cNvSpPr>
            <a:spLocks noGrp="1"/>
          </p:cNvSpPr>
          <p:nvPr>
            <p:ph type="title"/>
          </p:nvPr>
        </p:nvSpPr>
        <p:spPr/>
        <p:txBody>
          <a:bodyPr/>
          <a:lstStyle/>
          <a:p>
            <a:r>
              <a:rPr lang="en-US" dirty="0"/>
              <a:t>Interview feedback form</a:t>
            </a:r>
          </a:p>
        </p:txBody>
      </p:sp>
      <p:sp>
        <p:nvSpPr>
          <p:cNvPr id="9" name="Text Placeholder 8">
            <a:extLst>
              <a:ext uri="{FF2B5EF4-FFF2-40B4-BE49-F238E27FC236}">
                <a16:creationId xmlns:a16="http://schemas.microsoft.com/office/drawing/2014/main" id="{36AF6384-CB83-D43D-6315-006C1A7DF6CD}"/>
              </a:ext>
            </a:extLst>
          </p:cNvPr>
          <p:cNvSpPr>
            <a:spLocks noGrp="1"/>
          </p:cNvSpPr>
          <p:nvPr>
            <p:ph type="subTitle" idx="13"/>
          </p:nvPr>
        </p:nvSpPr>
        <p:spPr/>
        <p:txBody>
          <a:bodyPr/>
          <a:lstStyle/>
          <a:p>
            <a:r>
              <a:rPr lang="en-US" dirty="0"/>
              <a:t>Interviewers / Hiring managers</a:t>
            </a:r>
          </a:p>
        </p:txBody>
      </p:sp>
      <p:sp>
        <p:nvSpPr>
          <p:cNvPr id="12" name="Content Placeholder 11">
            <a:extLst>
              <a:ext uri="{FF2B5EF4-FFF2-40B4-BE49-F238E27FC236}">
                <a16:creationId xmlns:a16="http://schemas.microsoft.com/office/drawing/2014/main" id="{FD08F3AC-E2E6-950C-D4F4-085B8EBF3022}"/>
              </a:ext>
            </a:extLst>
          </p:cNvPr>
          <p:cNvSpPr>
            <a:spLocks noGrp="1"/>
          </p:cNvSpPr>
          <p:nvPr>
            <p:ph type="body" sz="quarter" idx="16"/>
          </p:nvPr>
        </p:nvSpPr>
        <p:spPr>
          <a:xfrm>
            <a:off x="544830" y="1955800"/>
            <a:ext cx="2302542" cy="4270248"/>
          </a:xfrm>
        </p:spPr>
        <p:txBody>
          <a:bodyPr/>
          <a:lstStyle/>
          <a:p>
            <a:r>
              <a:rPr lang="en-US" dirty="0"/>
              <a:t>Hiring managers and other interviewers provide feedback on the applicant after the interview via the interview Feedback form.</a:t>
            </a:r>
          </a:p>
        </p:txBody>
      </p:sp>
      <p:pic>
        <p:nvPicPr>
          <p:cNvPr id="2" name="Picture 1">
            <a:extLst>
              <a:ext uri="{FF2B5EF4-FFF2-40B4-BE49-F238E27FC236}">
                <a16:creationId xmlns:a16="http://schemas.microsoft.com/office/drawing/2014/main" id="{2A2F25A0-898D-7D65-927E-45653C39B7AC}"/>
              </a:ext>
            </a:extLst>
          </p:cNvPr>
          <p:cNvPicPr>
            <a:picLocks noChangeAspect="1"/>
          </p:cNvPicPr>
          <p:nvPr/>
        </p:nvPicPr>
        <p:blipFill>
          <a:blip r:embed="rId2"/>
          <a:stretch>
            <a:fillRect/>
          </a:stretch>
        </p:blipFill>
        <p:spPr>
          <a:xfrm>
            <a:off x="3113586" y="2121609"/>
            <a:ext cx="5976936" cy="3425223"/>
          </a:xfrm>
          <a:prstGeom prst="rect">
            <a:avLst/>
          </a:prstGeom>
        </p:spPr>
      </p:pic>
      <p:pic>
        <p:nvPicPr>
          <p:cNvPr id="3" name="Picture 2">
            <a:extLst>
              <a:ext uri="{FF2B5EF4-FFF2-40B4-BE49-F238E27FC236}">
                <a16:creationId xmlns:a16="http://schemas.microsoft.com/office/drawing/2014/main" id="{37D14A48-3A1D-BCC7-1088-3C3E9FA89DE0}"/>
              </a:ext>
            </a:extLst>
          </p:cNvPr>
          <p:cNvPicPr>
            <a:picLocks noChangeAspect="1"/>
          </p:cNvPicPr>
          <p:nvPr/>
        </p:nvPicPr>
        <p:blipFill>
          <a:blip r:embed="rId3"/>
          <a:stretch>
            <a:fillRect/>
          </a:stretch>
        </p:blipFill>
        <p:spPr>
          <a:xfrm>
            <a:off x="7239000" y="1445704"/>
            <a:ext cx="4242254" cy="4777035"/>
          </a:xfrm>
          <a:prstGeom prst="rect">
            <a:avLst/>
          </a:prstGeom>
        </p:spPr>
      </p:pic>
    </p:spTree>
    <p:extLst>
      <p:ext uri="{BB962C8B-B14F-4D97-AF65-F5344CB8AC3E}">
        <p14:creationId xmlns:p14="http://schemas.microsoft.com/office/powerpoint/2010/main" val="156254950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2F88A-22E7-46CA-1877-7DC3E327D2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851FDB-96A8-1678-D364-3F5CFB6C8DB7}"/>
              </a:ext>
            </a:extLst>
          </p:cNvPr>
          <p:cNvSpPr>
            <a:spLocks noGrp="1"/>
          </p:cNvSpPr>
          <p:nvPr>
            <p:ph type="title"/>
          </p:nvPr>
        </p:nvSpPr>
        <p:spPr>
          <a:xfrm>
            <a:off x="548640" y="553413"/>
            <a:ext cx="11089323" cy="4287420"/>
          </a:xfrm>
        </p:spPr>
        <p:txBody>
          <a:bodyPr/>
          <a:lstStyle/>
          <a:p>
            <a:r>
              <a:rPr lang="en-US" dirty="0">
                <a:solidFill>
                  <a:schemeClr val="accent1"/>
                </a:solidFill>
              </a:rPr>
              <a:t>Applicant Center</a:t>
            </a:r>
            <a:endParaRPr lang="en-US" dirty="0"/>
          </a:p>
        </p:txBody>
      </p:sp>
    </p:spTree>
    <p:extLst>
      <p:ext uri="{BB962C8B-B14F-4D97-AF65-F5344CB8AC3E}">
        <p14:creationId xmlns:p14="http://schemas.microsoft.com/office/powerpoint/2010/main" val="28870998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D4DD7-5292-D51F-FAAE-784B421464E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B6CDA7-E43B-2E22-7C76-55D88BC7D1C9}"/>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4AEB445B-8776-1488-5873-10062E9D5D68}"/>
              </a:ext>
            </a:extLst>
          </p:cNvPr>
          <p:cNvSpPr>
            <a:spLocks noGrp="1"/>
          </p:cNvSpPr>
          <p:nvPr>
            <p:ph type="subTitle" idx="13"/>
          </p:nvPr>
        </p:nvSpPr>
        <p:spPr/>
        <p:txBody>
          <a:bodyPr/>
          <a:lstStyle/>
          <a:p>
            <a:r>
              <a:rPr lang="en-US" dirty="0"/>
              <a:t>Overview</a:t>
            </a:r>
          </a:p>
        </p:txBody>
      </p:sp>
      <p:sp>
        <p:nvSpPr>
          <p:cNvPr id="12" name="Content Placeholder 11">
            <a:extLst>
              <a:ext uri="{FF2B5EF4-FFF2-40B4-BE49-F238E27FC236}">
                <a16:creationId xmlns:a16="http://schemas.microsoft.com/office/drawing/2014/main" id="{3D122FB5-106B-ABE9-7F38-35A06D0D4CAA}"/>
              </a:ext>
            </a:extLst>
          </p:cNvPr>
          <p:cNvSpPr>
            <a:spLocks noGrp="1"/>
          </p:cNvSpPr>
          <p:nvPr>
            <p:ph type="body" sz="quarter" idx="16"/>
          </p:nvPr>
        </p:nvSpPr>
        <p:spPr>
          <a:xfrm>
            <a:off x="544830" y="1955800"/>
            <a:ext cx="3159069" cy="4270248"/>
          </a:xfrm>
        </p:spPr>
        <p:txBody>
          <a:bodyPr/>
          <a:lstStyle/>
          <a:p>
            <a:r>
              <a:rPr lang="en-US" dirty="0"/>
              <a:t>Applicant Center offers a streamlined and tailored experience for applicants through a dedicated portal, enhancing their overall recruitment experience.</a:t>
            </a:r>
          </a:p>
          <a:p>
            <a:endParaRPr lang="en-US" dirty="0"/>
          </a:p>
        </p:txBody>
      </p:sp>
      <p:pic>
        <p:nvPicPr>
          <p:cNvPr id="5" name="Picture 4">
            <a:extLst>
              <a:ext uri="{FF2B5EF4-FFF2-40B4-BE49-F238E27FC236}">
                <a16:creationId xmlns:a16="http://schemas.microsoft.com/office/drawing/2014/main" id="{72DC0047-070B-0639-2535-61D4033E87CE}"/>
              </a:ext>
            </a:extLst>
          </p:cNvPr>
          <p:cNvPicPr>
            <a:picLocks noChangeAspect="1"/>
          </p:cNvPicPr>
          <p:nvPr/>
        </p:nvPicPr>
        <p:blipFill>
          <a:blip r:embed="rId3"/>
          <a:stretch>
            <a:fillRect/>
          </a:stretch>
        </p:blipFill>
        <p:spPr>
          <a:xfrm>
            <a:off x="3867785" y="1640050"/>
            <a:ext cx="7772400" cy="4687598"/>
          </a:xfrm>
          <a:prstGeom prst="rect">
            <a:avLst/>
          </a:prstGeom>
        </p:spPr>
      </p:pic>
    </p:spTree>
    <p:extLst>
      <p:ext uri="{BB962C8B-B14F-4D97-AF65-F5344CB8AC3E}">
        <p14:creationId xmlns:p14="http://schemas.microsoft.com/office/powerpoint/2010/main" val="11798394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4739F-9DD4-C449-5E7F-B70045719BE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515C1F-684C-E920-BE73-7C534230FF71}"/>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3F36C06F-DB4A-4639-D8D0-0925F68E0A8D}"/>
              </a:ext>
            </a:extLst>
          </p:cNvPr>
          <p:cNvSpPr>
            <a:spLocks noGrp="1"/>
          </p:cNvSpPr>
          <p:nvPr>
            <p:ph type="subTitle" idx="13"/>
          </p:nvPr>
        </p:nvSpPr>
        <p:spPr/>
        <p:txBody>
          <a:bodyPr/>
          <a:lstStyle/>
          <a:p>
            <a:r>
              <a:rPr lang="en-US" dirty="0"/>
              <a:t>Overview</a:t>
            </a:r>
          </a:p>
        </p:txBody>
      </p:sp>
      <p:sp>
        <p:nvSpPr>
          <p:cNvPr id="12" name="Content Placeholder 11">
            <a:extLst>
              <a:ext uri="{FF2B5EF4-FFF2-40B4-BE49-F238E27FC236}">
                <a16:creationId xmlns:a16="http://schemas.microsoft.com/office/drawing/2014/main" id="{1D8B60CC-C38A-81B2-8B71-9EB58A9D0CAF}"/>
              </a:ext>
            </a:extLst>
          </p:cNvPr>
          <p:cNvSpPr>
            <a:spLocks noGrp="1"/>
          </p:cNvSpPr>
          <p:nvPr>
            <p:ph type="body" sz="quarter" idx="16"/>
          </p:nvPr>
        </p:nvSpPr>
        <p:spPr>
          <a:xfrm>
            <a:off x="544830" y="1955800"/>
            <a:ext cx="2998470" cy="4270248"/>
          </a:xfrm>
        </p:spPr>
        <p:txBody>
          <a:bodyPr vert="horz" lIns="0" tIns="0" rIns="0" bIns="0" rtlCol="0" anchor="t">
            <a:noAutofit/>
          </a:bodyPr>
          <a:lstStyle/>
          <a:p>
            <a:r>
              <a:rPr lang="en-US" dirty="0"/>
              <a:t>Applicants have a clear view of where they are within the hiring process for each of their applications, as well as other resources such as the company values, culture, and a knowledge base with answers to their most common questions.</a:t>
            </a:r>
          </a:p>
          <a:p>
            <a:endParaRPr lang="en-US" dirty="0"/>
          </a:p>
        </p:txBody>
      </p:sp>
      <p:pic>
        <p:nvPicPr>
          <p:cNvPr id="2" name="Picture 1">
            <a:extLst>
              <a:ext uri="{FF2B5EF4-FFF2-40B4-BE49-F238E27FC236}">
                <a16:creationId xmlns:a16="http://schemas.microsoft.com/office/drawing/2014/main" id="{4CF82C2C-2664-1178-FCC4-20283C3CA9E1}"/>
              </a:ext>
            </a:extLst>
          </p:cNvPr>
          <p:cNvPicPr>
            <a:picLocks noChangeAspect="1"/>
          </p:cNvPicPr>
          <p:nvPr/>
        </p:nvPicPr>
        <p:blipFill>
          <a:blip r:embed="rId3"/>
          <a:stretch>
            <a:fillRect/>
          </a:stretch>
        </p:blipFill>
        <p:spPr>
          <a:xfrm>
            <a:off x="3859213" y="1445704"/>
            <a:ext cx="7772400" cy="4692243"/>
          </a:xfrm>
          <a:prstGeom prst="rect">
            <a:avLst/>
          </a:prstGeom>
        </p:spPr>
      </p:pic>
    </p:spTree>
    <p:extLst>
      <p:ext uri="{BB962C8B-B14F-4D97-AF65-F5344CB8AC3E}">
        <p14:creationId xmlns:p14="http://schemas.microsoft.com/office/powerpoint/2010/main" val="8176288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4887C-F578-0275-CC6A-4ACC578C760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AA6362-7978-1A93-7A6A-30C8EFB3B9A7}"/>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E25F23BC-7C0F-38CF-3CAF-A5A90E9AD80D}"/>
              </a:ext>
            </a:extLst>
          </p:cNvPr>
          <p:cNvSpPr>
            <a:spLocks noGrp="1"/>
          </p:cNvSpPr>
          <p:nvPr>
            <p:ph type="subTitle" idx="13"/>
          </p:nvPr>
        </p:nvSpPr>
        <p:spPr/>
        <p:txBody>
          <a:bodyPr/>
          <a:lstStyle/>
          <a:p>
            <a:r>
              <a:rPr lang="en-US" dirty="0"/>
              <a:t>Time limited authentication</a:t>
            </a:r>
          </a:p>
        </p:txBody>
      </p:sp>
      <p:sp>
        <p:nvSpPr>
          <p:cNvPr id="12" name="Content Placeholder 11">
            <a:extLst>
              <a:ext uri="{FF2B5EF4-FFF2-40B4-BE49-F238E27FC236}">
                <a16:creationId xmlns:a16="http://schemas.microsoft.com/office/drawing/2014/main" id="{6452DA54-0D49-A8E4-9CCC-D6CDC0B092B4}"/>
              </a:ext>
            </a:extLst>
          </p:cNvPr>
          <p:cNvSpPr>
            <a:spLocks noGrp="1"/>
          </p:cNvSpPr>
          <p:nvPr>
            <p:ph type="body" sz="quarter" idx="16"/>
          </p:nvPr>
        </p:nvSpPr>
        <p:spPr>
          <a:xfrm>
            <a:off x="544830" y="1955800"/>
            <a:ext cx="6249670" cy="4270248"/>
          </a:xfrm>
        </p:spPr>
        <p:txBody>
          <a:bodyPr/>
          <a:lstStyle/>
          <a:p>
            <a:r>
              <a:rPr lang="en-US" dirty="0"/>
              <a:t>The “No-login experience” With time limited authentication allows applicants to log into the Applicant Center without a password and explore the portal easily.</a:t>
            </a:r>
          </a:p>
          <a:p>
            <a:pPr>
              <a:buNone/>
            </a:pPr>
            <a:endParaRPr lang="en-US" dirty="0"/>
          </a:p>
          <a:p>
            <a:br>
              <a:rPr lang="en-US" dirty="0"/>
            </a:br>
            <a:endParaRPr lang="en-US" dirty="0">
              <a:effectLst/>
            </a:endParaRPr>
          </a:p>
        </p:txBody>
      </p:sp>
      <p:pic>
        <p:nvPicPr>
          <p:cNvPr id="5" name="Picture 4">
            <a:extLst>
              <a:ext uri="{FF2B5EF4-FFF2-40B4-BE49-F238E27FC236}">
                <a16:creationId xmlns:a16="http://schemas.microsoft.com/office/drawing/2014/main" id="{1EE76E41-9C82-3460-CA97-8514D243BE7D}"/>
              </a:ext>
            </a:extLst>
          </p:cNvPr>
          <p:cNvPicPr>
            <a:picLocks noChangeAspect="1"/>
          </p:cNvPicPr>
          <p:nvPr/>
        </p:nvPicPr>
        <p:blipFill>
          <a:blip r:embed="rId2"/>
          <a:stretch>
            <a:fillRect/>
          </a:stretch>
        </p:blipFill>
        <p:spPr>
          <a:xfrm>
            <a:off x="7725478" y="827532"/>
            <a:ext cx="2108200" cy="5410200"/>
          </a:xfrm>
          <a:prstGeom prst="rect">
            <a:avLst/>
          </a:prstGeom>
        </p:spPr>
      </p:pic>
      <p:sp>
        <p:nvSpPr>
          <p:cNvPr id="6" name="Rectangle 5">
            <a:extLst>
              <a:ext uri="{FF2B5EF4-FFF2-40B4-BE49-F238E27FC236}">
                <a16:creationId xmlns:a16="http://schemas.microsoft.com/office/drawing/2014/main" id="{D1ADF55D-9EAF-45BA-ABB3-C6F10DA10F04}"/>
              </a:ext>
            </a:extLst>
          </p:cNvPr>
          <p:cNvSpPr/>
          <p:nvPr/>
        </p:nvSpPr>
        <p:spPr>
          <a:xfrm>
            <a:off x="7848599" y="5569529"/>
            <a:ext cx="1222716" cy="3457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2629587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D71FB-2B9D-6AC0-B9D2-AD46AA0F5951}"/>
            </a:ext>
          </a:extLst>
        </p:cNvPr>
        <p:cNvGrpSpPr/>
        <p:nvPr/>
      </p:nvGrpSpPr>
      <p:grpSpPr>
        <a:xfrm>
          <a:off x="0" y="0"/>
          <a:ext cx="0" cy="0"/>
          <a:chOff x="0" y="0"/>
          <a:chExt cx="0" cy="0"/>
        </a:xfrm>
      </p:grpSpPr>
      <p:graphicFrame>
        <p:nvGraphicFramePr>
          <p:cNvPr id="4" name="Table Placeholder 3">
            <a:extLst>
              <a:ext uri="{FF2B5EF4-FFF2-40B4-BE49-F238E27FC236}">
                <a16:creationId xmlns:a16="http://schemas.microsoft.com/office/drawing/2014/main" id="{C142B8EE-D43D-F842-126E-C800D044ABED}"/>
              </a:ext>
              <a:ext uri="{C183D7F6-B498-43B3-948B-1728B52AA6E4}">
                <adec:decorative xmlns:adec="http://schemas.microsoft.com/office/drawing/2017/decorative" val="1"/>
              </a:ext>
            </a:extLst>
          </p:cNvPr>
          <p:cNvGraphicFramePr>
            <a:graphicFrameLocks noGrp="1"/>
          </p:cNvGraphicFramePr>
          <p:nvPr>
            <p:ph type="tbl" sz="quarter" idx="10"/>
            <p:extLst>
              <p:ext uri="{D42A27DB-BD31-4B8C-83A1-F6EECF244321}">
                <p14:modId xmlns:p14="http://schemas.microsoft.com/office/powerpoint/2010/main" val="2335207014"/>
              </p:ext>
            </p:extLst>
          </p:nvPr>
        </p:nvGraphicFramePr>
        <p:xfrm>
          <a:off x="4321175" y="1429431"/>
          <a:ext cx="7107238" cy="4568600"/>
        </p:xfrm>
        <a:graphic>
          <a:graphicData uri="http://schemas.openxmlformats.org/drawingml/2006/table">
            <a:tbl>
              <a:tblPr firstRow="1" bandRow="1">
                <a:tableStyleId>{9D7B26C5-4107-4FEC-AEDC-1716B250A1EF}</a:tableStyleId>
              </a:tblPr>
              <a:tblGrid>
                <a:gridCol w="812747">
                  <a:extLst>
                    <a:ext uri="{9D8B030D-6E8A-4147-A177-3AD203B41FA5}">
                      <a16:colId xmlns:a16="http://schemas.microsoft.com/office/drawing/2014/main" val="479827950"/>
                    </a:ext>
                  </a:extLst>
                </a:gridCol>
                <a:gridCol w="6294491">
                  <a:extLst>
                    <a:ext uri="{9D8B030D-6E8A-4147-A177-3AD203B41FA5}">
                      <a16:colId xmlns:a16="http://schemas.microsoft.com/office/drawing/2014/main" val="1674393172"/>
                    </a:ext>
                  </a:extLst>
                </a:gridCol>
              </a:tblGrid>
              <a:tr h="456860">
                <a:tc>
                  <a:txBody>
                    <a:bodyPr/>
                    <a:lstStyle/>
                    <a:p>
                      <a:r>
                        <a:rPr lang="en-US" sz="2800" b="0" dirty="0">
                          <a:solidFill>
                            <a:srgbClr val="63DF4E"/>
                          </a:solidFill>
                          <a:latin typeface="ServiceNow Sans" panose="020B0504040101010104" pitchFamily="34" charset="77"/>
                        </a:rPr>
                        <a:t>01</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Hiring Experiences overview</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67741481"/>
                  </a:ext>
                </a:extLst>
              </a:tr>
              <a:tr h="456860">
                <a:tc>
                  <a:txBody>
                    <a:bodyPr/>
                    <a:lstStyle/>
                    <a:p>
                      <a:r>
                        <a:rPr lang="en-US" sz="2800" b="0" dirty="0">
                          <a:solidFill>
                            <a:srgbClr val="63DF4E"/>
                          </a:solidFill>
                          <a:latin typeface="ServiceNow Sans" panose="020B0504040101010104" pitchFamily="34" charset="77"/>
                        </a:rPr>
                        <a:t>02</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Hiring Core</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33019559"/>
                  </a:ext>
                </a:extLst>
              </a:tr>
              <a:tr h="456860">
                <a:tc>
                  <a:txBody>
                    <a:bodyPr/>
                    <a:lstStyle/>
                    <a:p>
                      <a:r>
                        <a:rPr lang="en-US" sz="2800" b="0" dirty="0">
                          <a:solidFill>
                            <a:srgbClr val="63DF4E"/>
                          </a:solidFill>
                          <a:latin typeface="ServiceNow Sans" panose="020B0504040101010104" pitchFamily="34" charset="77"/>
                        </a:rPr>
                        <a:t>03</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Manager Hub</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0549209"/>
                  </a:ext>
                </a:extLst>
              </a:tr>
              <a:tr h="456860">
                <a:tc>
                  <a:txBody>
                    <a:bodyPr/>
                    <a:lstStyle/>
                    <a:p>
                      <a:r>
                        <a:rPr lang="en-US" sz="2800" b="0" dirty="0">
                          <a:solidFill>
                            <a:srgbClr val="63DF4E"/>
                          </a:solidFill>
                          <a:latin typeface="ServiceNow Sans" panose="020B0504040101010104" pitchFamily="34" charset="77"/>
                        </a:rPr>
                        <a:t>04</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Talent Profile</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80137712"/>
                  </a:ext>
                </a:extLst>
              </a:tr>
              <a:tr h="456860">
                <a:tc>
                  <a:txBody>
                    <a:bodyPr/>
                    <a:lstStyle/>
                    <a:p>
                      <a:r>
                        <a:rPr lang="en-US" sz="2800" b="0" dirty="0">
                          <a:solidFill>
                            <a:srgbClr val="63DF4E"/>
                          </a:solidFill>
                          <a:latin typeface="ServiceNow Sans" panose="020B0504040101010104" pitchFamily="34" charset="77"/>
                        </a:rPr>
                        <a:t>05</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Job Requisition Management</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3119785"/>
                  </a:ext>
                </a:extLst>
              </a:tr>
              <a:tr h="456860">
                <a:tc>
                  <a:txBody>
                    <a:bodyPr/>
                    <a:lstStyle/>
                    <a:p>
                      <a:r>
                        <a:rPr lang="en-US" sz="2800" b="0" dirty="0">
                          <a:solidFill>
                            <a:srgbClr val="63DF4E"/>
                          </a:solidFill>
                          <a:latin typeface="ServiceNow Sans" panose="020B0504040101010104" pitchFamily="34" charset="77"/>
                        </a:rPr>
                        <a:t>06</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Recruitment Workspace</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31677537"/>
                  </a:ext>
                </a:extLst>
              </a:tr>
              <a:tr h="456860">
                <a:tc>
                  <a:txBody>
                    <a:bodyPr/>
                    <a:lstStyle/>
                    <a:p>
                      <a:r>
                        <a:rPr lang="en-US" sz="2800" b="0" dirty="0">
                          <a:solidFill>
                            <a:srgbClr val="63DF4E"/>
                          </a:solidFill>
                          <a:latin typeface="ServiceNow Sans" panose="020B0504040101010104" pitchFamily="34" charset="77"/>
                        </a:rPr>
                        <a:t>07</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Interview Management</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1716712"/>
                  </a:ext>
                </a:extLst>
              </a:tr>
              <a:tr h="456860">
                <a:tc>
                  <a:txBody>
                    <a:bodyPr/>
                    <a:lstStyle/>
                    <a:p>
                      <a:r>
                        <a:rPr lang="en-US" sz="2800" b="0" dirty="0">
                          <a:solidFill>
                            <a:srgbClr val="63DF4E"/>
                          </a:solidFill>
                          <a:latin typeface="ServiceNow Sans" panose="020B0504040101010104" pitchFamily="34" charset="77"/>
                        </a:rPr>
                        <a:t>08</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Applicant Center</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68002277"/>
                  </a:ext>
                </a:extLst>
              </a:tr>
              <a:tr h="456860">
                <a:tc>
                  <a:txBody>
                    <a:bodyPr/>
                    <a:lstStyle/>
                    <a:p>
                      <a:r>
                        <a:rPr lang="en-US" sz="2800" b="0" dirty="0">
                          <a:solidFill>
                            <a:srgbClr val="63DF4E"/>
                          </a:solidFill>
                          <a:latin typeface="ServiceNow Sans" panose="020B0504040101010104" pitchFamily="34" charset="77"/>
                        </a:rPr>
                        <a:t>09</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Opportunity Marketplace</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27674907"/>
                  </a:ext>
                </a:extLst>
              </a:tr>
              <a:tr h="456860">
                <a:tc>
                  <a:txBody>
                    <a:bodyPr/>
                    <a:lstStyle/>
                    <a:p>
                      <a:r>
                        <a:rPr lang="en-US" sz="2800" b="0" dirty="0">
                          <a:solidFill>
                            <a:srgbClr val="63DF4E"/>
                          </a:solidFill>
                          <a:latin typeface="ServiceNow Sans" panose="020B0504040101010104" pitchFamily="34" charset="77"/>
                        </a:rPr>
                        <a:t>10</a:t>
                      </a:r>
                      <a:endParaRPr lang="en-US" sz="2800" b="0" i="0" dirty="0">
                        <a:solidFill>
                          <a:srgbClr val="63DF4E"/>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w="12700" cmpd="sng">
                      <a:noFill/>
                    </a:lnB>
                    <a:lnTlToBr w="12700" cmpd="sng">
                      <a:noFill/>
                      <a:prstDash val="solid"/>
                    </a:lnTlToBr>
                    <a:lnBlToTr w="12700" cmpd="sng">
                      <a:noFill/>
                      <a:prstDash val="solid"/>
                    </a:lnBlToTr>
                  </a:tcPr>
                </a:tc>
                <a:tc>
                  <a:txBody>
                    <a:bodyPr/>
                    <a:lstStyle/>
                    <a:p>
                      <a:r>
                        <a:rPr lang="en-US" sz="2800" b="0" dirty="0">
                          <a:solidFill>
                            <a:schemeClr val="bg1"/>
                          </a:solidFill>
                          <a:latin typeface="ServiceNow Sans" panose="020B0504040101010104" pitchFamily="34" charset="77"/>
                        </a:rPr>
                        <a:t>Wrap up &amp; next steps</a:t>
                      </a:r>
                      <a:endParaRPr lang="en-US" sz="2800" b="0" i="0" dirty="0">
                        <a:solidFill>
                          <a:schemeClr val="bg1"/>
                        </a:solidFill>
                        <a:latin typeface="ServiceNow Sans" panose="020B0504040101010104" pitchFamily="34" charset="77"/>
                        <a:cs typeface="ServiceNow Sans Medium" panose="020B0704040101010104" pitchFamily="34" charset="0"/>
                      </a:endParaRPr>
                    </a:p>
                  </a:txBody>
                  <a:tcPr marL="0" marR="0" marT="0" marB="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00468078"/>
                  </a:ext>
                </a:extLst>
              </a:tr>
            </a:tbl>
          </a:graphicData>
        </a:graphic>
      </p:graphicFrame>
      <p:sp>
        <p:nvSpPr>
          <p:cNvPr id="6" name="Title 5">
            <a:extLst>
              <a:ext uri="{FF2B5EF4-FFF2-40B4-BE49-F238E27FC236}">
                <a16:creationId xmlns:a16="http://schemas.microsoft.com/office/drawing/2014/main" id="{C30297D4-9A24-8D77-C592-01C0862CF920}"/>
              </a:ext>
            </a:extLst>
          </p:cNvPr>
          <p:cNvSpPr>
            <a:spLocks noGrp="1"/>
          </p:cNvSpPr>
          <p:nvPr>
            <p:ph type="title"/>
          </p:nvPr>
        </p:nvSpPr>
        <p:spPr>
          <a:xfrm>
            <a:off x="548640" y="1230923"/>
            <a:ext cx="3401191" cy="2140927"/>
          </a:xfrm>
        </p:spPr>
        <p:txBody>
          <a:bodyPr/>
          <a:lstStyle/>
          <a:p>
            <a:r>
              <a:rPr lang="en-US" dirty="0"/>
              <a:t>Agenda</a:t>
            </a:r>
          </a:p>
        </p:txBody>
      </p:sp>
      <p:sp>
        <p:nvSpPr>
          <p:cNvPr id="7" name="Title 10">
            <a:extLst>
              <a:ext uri="{FF2B5EF4-FFF2-40B4-BE49-F238E27FC236}">
                <a16:creationId xmlns:a16="http://schemas.microsoft.com/office/drawing/2014/main" id="{5CBEC38D-1670-E159-457D-2147C11A9E4E}"/>
              </a:ext>
            </a:extLst>
          </p:cNvPr>
          <p:cNvSpPr txBox="1">
            <a:spLocks/>
          </p:cNvSpPr>
          <p:nvPr/>
        </p:nvSpPr>
        <p:spPr>
          <a:xfrm>
            <a:off x="548641" y="2790410"/>
            <a:ext cx="3090672" cy="2695990"/>
          </a:xfrm>
          <a:prstGeom prst="rect">
            <a:avLst/>
          </a:prstGeom>
        </p:spPr>
        <p:txBody>
          <a:bodyPr vert="horz" lIns="0" tIns="0" rIns="0" bIns="0" rtlCol="0" anchor="t" anchorCtr="0">
            <a:noAutofit/>
          </a:bodyPr>
          <a:lstStyle>
            <a:lvl1pPr marL="0" algn="l" defTabSz="914400" rtl="0" eaLnBrk="1" latinLnBrk="0" hangingPunct="1">
              <a:lnSpc>
                <a:spcPct val="85000"/>
              </a:lnSpc>
              <a:spcBef>
                <a:spcPct val="0"/>
              </a:spcBef>
              <a:buNone/>
              <a:tabLst>
                <a:tab pos="398463" algn="l"/>
              </a:tabLst>
              <a:defRPr lang="en-US" sz="5400" b="1" i="0" kern="1200" spc="0" baseline="0" dirty="0">
                <a:solidFill>
                  <a:schemeClr val="tx1"/>
                </a:solidFill>
                <a:latin typeface="+mj-lt"/>
                <a:ea typeface="+mj-ea"/>
                <a:cs typeface="ServiceNow Sans Display Bold" panose="020B0504040101010104" pitchFamily="34" charset="77"/>
              </a:defRPr>
            </a:lvl1pPr>
          </a:lstStyle>
          <a:p>
            <a:pPr>
              <a:lnSpc>
                <a:spcPct val="100000"/>
              </a:lnSpc>
            </a:pPr>
            <a:r>
              <a:rPr lang="en-US" sz="1600" b="0" dirty="0">
                <a:solidFill>
                  <a:schemeClr val="bg1"/>
                </a:solidFill>
                <a:latin typeface="+mn-lt"/>
              </a:rPr>
              <a:t>For each section, we will:</a:t>
            </a:r>
          </a:p>
          <a:p>
            <a:pPr marL="285750" indent="-285750">
              <a:lnSpc>
                <a:spcPct val="100000"/>
              </a:lnSpc>
              <a:buFont typeface="Arial" panose="020B0604020202020204" pitchFamily="34" charset="0"/>
              <a:buChar char="•"/>
            </a:pPr>
            <a:r>
              <a:rPr lang="en-US" sz="1600" b="0" dirty="0">
                <a:solidFill>
                  <a:schemeClr val="bg1"/>
                </a:solidFill>
                <a:latin typeface="+mn-lt"/>
              </a:rPr>
              <a:t>Introduce the topic and fundamental concepts</a:t>
            </a:r>
          </a:p>
          <a:p>
            <a:pPr marL="285750" indent="-285750">
              <a:lnSpc>
                <a:spcPct val="100000"/>
              </a:lnSpc>
              <a:buFont typeface="Arial" panose="020B0604020202020204" pitchFamily="34" charset="0"/>
              <a:buChar char="•"/>
            </a:pPr>
            <a:r>
              <a:rPr lang="en-US" sz="1600" b="0" dirty="0">
                <a:solidFill>
                  <a:schemeClr val="bg1"/>
                </a:solidFill>
                <a:latin typeface="+mn-lt"/>
              </a:rPr>
              <a:t>Provide a live walkthrough / demo</a:t>
            </a:r>
          </a:p>
          <a:p>
            <a:pPr marL="285750" indent="-285750">
              <a:lnSpc>
                <a:spcPct val="100000"/>
              </a:lnSpc>
              <a:buFont typeface="Arial" panose="020B0604020202020204" pitchFamily="34" charset="0"/>
              <a:buChar char="•"/>
            </a:pPr>
            <a:r>
              <a:rPr lang="en-US" sz="1600" b="0" dirty="0">
                <a:solidFill>
                  <a:schemeClr val="bg1"/>
                </a:solidFill>
                <a:latin typeface="+mn-lt"/>
              </a:rPr>
              <a:t>Gather requirements for development</a:t>
            </a:r>
          </a:p>
        </p:txBody>
      </p:sp>
    </p:spTree>
    <p:extLst>
      <p:ext uri="{BB962C8B-B14F-4D97-AF65-F5344CB8AC3E}">
        <p14:creationId xmlns:p14="http://schemas.microsoft.com/office/powerpoint/2010/main" val="179100958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627E9-1239-05C9-D13B-65435CF8305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C8EFE1B-1D56-5AE3-67EC-56868B42D6BB}"/>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DC708579-C235-EAD2-4B94-5DDFF360CA6C}"/>
              </a:ext>
            </a:extLst>
          </p:cNvPr>
          <p:cNvSpPr>
            <a:spLocks noGrp="1"/>
          </p:cNvSpPr>
          <p:nvPr>
            <p:ph type="subTitle" idx="13"/>
          </p:nvPr>
        </p:nvSpPr>
        <p:spPr/>
        <p:txBody>
          <a:bodyPr/>
          <a:lstStyle/>
          <a:p>
            <a:r>
              <a:rPr lang="en-US" dirty="0"/>
              <a:t>Applicant scheduling preferences</a:t>
            </a:r>
          </a:p>
        </p:txBody>
      </p:sp>
      <p:sp>
        <p:nvSpPr>
          <p:cNvPr id="12" name="Content Placeholder 11">
            <a:extLst>
              <a:ext uri="{FF2B5EF4-FFF2-40B4-BE49-F238E27FC236}">
                <a16:creationId xmlns:a16="http://schemas.microsoft.com/office/drawing/2014/main" id="{30FA9B0C-D07C-0873-8C0D-F07D143165B4}"/>
              </a:ext>
            </a:extLst>
          </p:cNvPr>
          <p:cNvSpPr>
            <a:spLocks noGrp="1"/>
          </p:cNvSpPr>
          <p:nvPr>
            <p:ph type="body" sz="quarter" idx="16"/>
          </p:nvPr>
        </p:nvSpPr>
        <p:spPr>
          <a:xfrm>
            <a:off x="544830" y="1955800"/>
            <a:ext cx="3950970" cy="4270248"/>
          </a:xfrm>
        </p:spPr>
        <p:txBody>
          <a:bodyPr/>
          <a:lstStyle/>
          <a:p>
            <a:r>
              <a:rPr lang="en-US" dirty="0"/>
              <a:t>The applicant can share their scheduling preferences for the upcoming interview directly on Applicant Center. </a:t>
            </a:r>
          </a:p>
        </p:txBody>
      </p:sp>
      <p:pic>
        <p:nvPicPr>
          <p:cNvPr id="2" name="Picture 1">
            <a:extLst>
              <a:ext uri="{FF2B5EF4-FFF2-40B4-BE49-F238E27FC236}">
                <a16:creationId xmlns:a16="http://schemas.microsoft.com/office/drawing/2014/main" id="{59F5089B-EB2C-DCFC-1D36-EE78371D967F}"/>
              </a:ext>
            </a:extLst>
          </p:cNvPr>
          <p:cNvPicPr>
            <a:picLocks noChangeAspect="1"/>
          </p:cNvPicPr>
          <p:nvPr/>
        </p:nvPicPr>
        <p:blipFill>
          <a:blip r:embed="rId2"/>
          <a:stretch>
            <a:fillRect/>
          </a:stretch>
        </p:blipFill>
        <p:spPr>
          <a:xfrm>
            <a:off x="5388429" y="1691640"/>
            <a:ext cx="5889171" cy="4540015"/>
          </a:xfrm>
          <a:prstGeom prst="rect">
            <a:avLst/>
          </a:prstGeom>
        </p:spPr>
      </p:pic>
    </p:spTree>
    <p:extLst>
      <p:ext uri="{BB962C8B-B14F-4D97-AF65-F5344CB8AC3E}">
        <p14:creationId xmlns:p14="http://schemas.microsoft.com/office/powerpoint/2010/main" val="334397779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6F050-B090-5EB2-B75C-F9DC286716C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B7FAB46-33B1-E535-EA37-8D64DD56865F}"/>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B1ED6672-B06D-857C-3EB1-A8D2F2945AE8}"/>
              </a:ext>
            </a:extLst>
          </p:cNvPr>
          <p:cNvSpPr>
            <a:spLocks noGrp="1"/>
          </p:cNvSpPr>
          <p:nvPr>
            <p:ph type="subTitle" idx="13"/>
          </p:nvPr>
        </p:nvSpPr>
        <p:spPr/>
        <p:txBody>
          <a:bodyPr/>
          <a:lstStyle/>
          <a:p>
            <a:r>
              <a:rPr lang="en-US" dirty="0"/>
              <a:t>Interview scheduling</a:t>
            </a:r>
          </a:p>
        </p:txBody>
      </p:sp>
      <p:sp>
        <p:nvSpPr>
          <p:cNvPr id="12" name="Content Placeholder 11">
            <a:extLst>
              <a:ext uri="{FF2B5EF4-FFF2-40B4-BE49-F238E27FC236}">
                <a16:creationId xmlns:a16="http://schemas.microsoft.com/office/drawing/2014/main" id="{DA390791-BCC8-19E8-1135-BD9DA9E757BD}"/>
              </a:ext>
            </a:extLst>
          </p:cNvPr>
          <p:cNvSpPr>
            <a:spLocks noGrp="1"/>
          </p:cNvSpPr>
          <p:nvPr>
            <p:ph type="body" sz="quarter" idx="16"/>
          </p:nvPr>
        </p:nvSpPr>
        <p:spPr>
          <a:xfrm>
            <a:off x="544830" y="1955800"/>
            <a:ext cx="3011170" cy="4270248"/>
          </a:xfrm>
        </p:spPr>
        <p:txBody>
          <a:bodyPr/>
          <a:lstStyle/>
          <a:p>
            <a:r>
              <a:rPr lang="en-US" dirty="0"/>
              <a:t>Once the Recruiter has found a few time slots that work for all interviewers, the applicant can select the time slot they would like the interview to take place.</a:t>
            </a:r>
          </a:p>
        </p:txBody>
      </p:sp>
      <p:pic>
        <p:nvPicPr>
          <p:cNvPr id="2" name="Picture 1">
            <a:extLst>
              <a:ext uri="{FF2B5EF4-FFF2-40B4-BE49-F238E27FC236}">
                <a16:creationId xmlns:a16="http://schemas.microsoft.com/office/drawing/2014/main" id="{896DA5E2-1FB5-66B5-ED07-2D4351E559D5}"/>
              </a:ext>
            </a:extLst>
          </p:cNvPr>
          <p:cNvPicPr>
            <a:picLocks noChangeAspect="1"/>
          </p:cNvPicPr>
          <p:nvPr/>
        </p:nvPicPr>
        <p:blipFill>
          <a:blip r:embed="rId2"/>
          <a:stretch>
            <a:fillRect/>
          </a:stretch>
        </p:blipFill>
        <p:spPr>
          <a:xfrm>
            <a:off x="3867785" y="1640050"/>
            <a:ext cx="7772400" cy="4687598"/>
          </a:xfrm>
          <a:prstGeom prst="rect">
            <a:avLst/>
          </a:prstGeom>
        </p:spPr>
      </p:pic>
      <p:sp>
        <p:nvSpPr>
          <p:cNvPr id="3" name="Rectangle 2">
            <a:extLst>
              <a:ext uri="{FF2B5EF4-FFF2-40B4-BE49-F238E27FC236}">
                <a16:creationId xmlns:a16="http://schemas.microsoft.com/office/drawing/2014/main" id="{9E9A9E8E-4070-3C1D-37F1-DCDD13AB79EA}"/>
              </a:ext>
            </a:extLst>
          </p:cNvPr>
          <p:cNvSpPr/>
          <p:nvPr/>
        </p:nvSpPr>
        <p:spPr>
          <a:xfrm>
            <a:off x="5138056" y="5117720"/>
            <a:ext cx="2471057" cy="110832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spTree>
    <p:extLst>
      <p:ext uri="{BB962C8B-B14F-4D97-AF65-F5344CB8AC3E}">
        <p14:creationId xmlns:p14="http://schemas.microsoft.com/office/powerpoint/2010/main" val="30972846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2CA6C-A29D-6EBE-8573-40071594965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08BB419-8FB9-17F7-EA7A-FC8F1314731D}"/>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07DE82BE-0C30-20E4-2F7A-8CBDE6085C22}"/>
              </a:ext>
            </a:extLst>
          </p:cNvPr>
          <p:cNvSpPr>
            <a:spLocks noGrp="1"/>
          </p:cNvSpPr>
          <p:nvPr>
            <p:ph type="subTitle" idx="13"/>
          </p:nvPr>
        </p:nvSpPr>
        <p:spPr/>
        <p:txBody>
          <a:bodyPr/>
          <a:lstStyle/>
          <a:p>
            <a:r>
              <a:rPr lang="en-US" dirty="0"/>
              <a:t>Interview scheduling</a:t>
            </a:r>
          </a:p>
        </p:txBody>
      </p:sp>
      <p:sp>
        <p:nvSpPr>
          <p:cNvPr id="12" name="Content Placeholder 11">
            <a:extLst>
              <a:ext uri="{FF2B5EF4-FFF2-40B4-BE49-F238E27FC236}">
                <a16:creationId xmlns:a16="http://schemas.microsoft.com/office/drawing/2014/main" id="{54D92353-7B8E-298C-C389-A4507F55BC14}"/>
              </a:ext>
            </a:extLst>
          </p:cNvPr>
          <p:cNvSpPr>
            <a:spLocks noGrp="1"/>
          </p:cNvSpPr>
          <p:nvPr>
            <p:ph type="body" sz="quarter" idx="16"/>
          </p:nvPr>
        </p:nvSpPr>
        <p:spPr>
          <a:xfrm>
            <a:off x="544830" y="1955800"/>
            <a:ext cx="2871470" cy="4270248"/>
          </a:xfrm>
        </p:spPr>
        <p:txBody>
          <a:bodyPr/>
          <a:lstStyle/>
          <a:p>
            <a:r>
              <a:rPr lang="en-US" dirty="0"/>
              <a:t>Once the Recruiter has found a few time slots which work for all interviewers, the applicant can select the time slot they would like the interview to take place.</a:t>
            </a:r>
          </a:p>
        </p:txBody>
      </p:sp>
      <p:pic>
        <p:nvPicPr>
          <p:cNvPr id="3" name="Picture 2">
            <a:extLst>
              <a:ext uri="{FF2B5EF4-FFF2-40B4-BE49-F238E27FC236}">
                <a16:creationId xmlns:a16="http://schemas.microsoft.com/office/drawing/2014/main" id="{5BB70085-E8CC-55C9-9DBA-1289E3B5C156}"/>
              </a:ext>
            </a:extLst>
          </p:cNvPr>
          <p:cNvPicPr>
            <a:picLocks noChangeAspect="1"/>
          </p:cNvPicPr>
          <p:nvPr/>
        </p:nvPicPr>
        <p:blipFill>
          <a:blip r:embed="rId2"/>
          <a:srcRect r="14825" b="26960"/>
          <a:stretch>
            <a:fillRect/>
          </a:stretch>
        </p:blipFill>
        <p:spPr>
          <a:xfrm>
            <a:off x="3676507" y="1955800"/>
            <a:ext cx="7967488" cy="4120670"/>
          </a:xfrm>
          <a:prstGeom prst="rect">
            <a:avLst/>
          </a:prstGeom>
        </p:spPr>
      </p:pic>
    </p:spTree>
    <p:extLst>
      <p:ext uri="{BB962C8B-B14F-4D97-AF65-F5344CB8AC3E}">
        <p14:creationId xmlns:p14="http://schemas.microsoft.com/office/powerpoint/2010/main" val="39215850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F4CDB-06EA-21B4-A5E9-1BA73660211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2B6F797-0D17-E95B-D804-5C29E76A91A4}"/>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5800B518-AEBB-D091-C75D-08B1D9C22F4D}"/>
              </a:ext>
            </a:extLst>
          </p:cNvPr>
          <p:cNvSpPr>
            <a:spLocks noGrp="1"/>
          </p:cNvSpPr>
          <p:nvPr>
            <p:ph type="subTitle" idx="13"/>
          </p:nvPr>
        </p:nvSpPr>
        <p:spPr/>
        <p:txBody>
          <a:bodyPr/>
          <a:lstStyle/>
          <a:p>
            <a:r>
              <a:rPr lang="en-US" dirty="0"/>
              <a:t>Application visibility</a:t>
            </a:r>
          </a:p>
        </p:txBody>
      </p:sp>
      <p:sp>
        <p:nvSpPr>
          <p:cNvPr id="12" name="Content Placeholder 11">
            <a:extLst>
              <a:ext uri="{FF2B5EF4-FFF2-40B4-BE49-F238E27FC236}">
                <a16:creationId xmlns:a16="http://schemas.microsoft.com/office/drawing/2014/main" id="{AB7962C2-950D-51BB-5172-09506DA32EE2}"/>
              </a:ext>
            </a:extLst>
          </p:cNvPr>
          <p:cNvSpPr>
            <a:spLocks noGrp="1"/>
          </p:cNvSpPr>
          <p:nvPr>
            <p:ph type="body" sz="quarter" idx="16"/>
          </p:nvPr>
        </p:nvSpPr>
        <p:spPr>
          <a:xfrm>
            <a:off x="544831" y="1955800"/>
            <a:ext cx="3214370" cy="4270248"/>
          </a:xfrm>
        </p:spPr>
        <p:txBody>
          <a:bodyPr vert="horz" lIns="0" tIns="0" rIns="0" bIns="0" rtlCol="0" anchor="t">
            <a:noAutofit/>
          </a:bodyPr>
          <a:lstStyle/>
          <a:p>
            <a:pPr>
              <a:buNone/>
            </a:pPr>
            <a:r>
              <a:rPr lang="en-US" dirty="0"/>
              <a:t>Open an active job application to view the details:</a:t>
            </a:r>
          </a:p>
          <a:p>
            <a:pPr lvl="1">
              <a:buFont typeface="Arial" panose="020B0604020202020204" pitchFamily="34" charset="0"/>
              <a:buChar char="•"/>
            </a:pPr>
            <a:r>
              <a:rPr lang="en-US" dirty="0"/>
              <a:t>The overview section shows details such as recruiter, location, and work persona</a:t>
            </a:r>
          </a:p>
          <a:p>
            <a:pPr lvl="1">
              <a:buFont typeface="Arial" panose="020B0604020202020204" pitchFamily="34" charset="0"/>
              <a:buChar char="•"/>
            </a:pPr>
            <a:r>
              <a:rPr lang="en-US" dirty="0"/>
              <a:t>Message a recruiter from the Message tab</a:t>
            </a:r>
          </a:p>
          <a:p>
            <a:pPr lvl="1">
              <a:buFont typeface="Arial" panose="020B0604020202020204" pitchFamily="34" charset="0"/>
              <a:buChar char="•"/>
            </a:pPr>
            <a:r>
              <a:rPr lang="en-US" dirty="0"/>
              <a:t>View any tasks that require action on the My tasks tab</a:t>
            </a:r>
          </a:p>
          <a:p>
            <a:pPr lvl="1">
              <a:buFont typeface="Arial" panose="020B0604020202020204" pitchFamily="34" charset="0"/>
              <a:buChar char="•"/>
            </a:pPr>
            <a:r>
              <a:rPr lang="en-US" dirty="0"/>
              <a:t>Review the job description before the interview on the Job Description tab</a:t>
            </a:r>
          </a:p>
          <a:p>
            <a:endParaRPr lang="en-US" dirty="0"/>
          </a:p>
        </p:txBody>
      </p:sp>
      <p:pic>
        <p:nvPicPr>
          <p:cNvPr id="2" name="Picture 1">
            <a:extLst>
              <a:ext uri="{FF2B5EF4-FFF2-40B4-BE49-F238E27FC236}">
                <a16:creationId xmlns:a16="http://schemas.microsoft.com/office/drawing/2014/main" id="{9A0223C2-A048-217C-018E-A32ABAB89D21}"/>
              </a:ext>
            </a:extLst>
          </p:cNvPr>
          <p:cNvPicPr>
            <a:picLocks noChangeAspect="1"/>
          </p:cNvPicPr>
          <p:nvPr/>
        </p:nvPicPr>
        <p:blipFill>
          <a:blip r:embed="rId2"/>
          <a:stretch>
            <a:fillRect/>
          </a:stretch>
        </p:blipFill>
        <p:spPr>
          <a:xfrm>
            <a:off x="4374111" y="1383661"/>
            <a:ext cx="7257502" cy="4377059"/>
          </a:xfrm>
          <a:prstGeom prst="rect">
            <a:avLst/>
          </a:prstGeom>
        </p:spPr>
      </p:pic>
    </p:spTree>
    <p:extLst>
      <p:ext uri="{BB962C8B-B14F-4D97-AF65-F5344CB8AC3E}">
        <p14:creationId xmlns:p14="http://schemas.microsoft.com/office/powerpoint/2010/main" val="10779208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1018D-CEB4-1CE5-8917-6767C69A97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DEDD500-169E-DE5A-C481-0E0560F4F678}"/>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B9058874-933B-879D-29C2-860B0D1033CE}"/>
              </a:ext>
            </a:extLst>
          </p:cNvPr>
          <p:cNvSpPr>
            <a:spLocks noGrp="1"/>
          </p:cNvSpPr>
          <p:nvPr>
            <p:ph type="subTitle" idx="13"/>
          </p:nvPr>
        </p:nvSpPr>
        <p:spPr/>
        <p:txBody>
          <a:bodyPr/>
          <a:lstStyle/>
          <a:p>
            <a:r>
              <a:rPr lang="en-US" dirty="0"/>
              <a:t>Hiring tasks</a:t>
            </a:r>
          </a:p>
        </p:txBody>
      </p:sp>
      <p:sp>
        <p:nvSpPr>
          <p:cNvPr id="12" name="Content Placeholder 11">
            <a:extLst>
              <a:ext uri="{FF2B5EF4-FFF2-40B4-BE49-F238E27FC236}">
                <a16:creationId xmlns:a16="http://schemas.microsoft.com/office/drawing/2014/main" id="{B428EE08-C938-43E3-EE2C-E0EAAA5F5B9F}"/>
              </a:ext>
            </a:extLst>
          </p:cNvPr>
          <p:cNvSpPr>
            <a:spLocks noGrp="1"/>
          </p:cNvSpPr>
          <p:nvPr>
            <p:ph type="body" sz="quarter" idx="16"/>
          </p:nvPr>
        </p:nvSpPr>
        <p:spPr>
          <a:xfrm>
            <a:off x="544830" y="1955800"/>
            <a:ext cx="4433570" cy="4270248"/>
          </a:xfrm>
        </p:spPr>
        <p:txBody>
          <a:bodyPr/>
          <a:lstStyle/>
          <a:p>
            <a:r>
              <a:rPr lang="en-US" dirty="0"/>
              <a:t>Applicants can complete their tasks on the Applicant Center, such as signing the offer letter.</a:t>
            </a:r>
          </a:p>
        </p:txBody>
      </p:sp>
      <p:pic>
        <p:nvPicPr>
          <p:cNvPr id="2" name="Picture 1">
            <a:extLst>
              <a:ext uri="{FF2B5EF4-FFF2-40B4-BE49-F238E27FC236}">
                <a16:creationId xmlns:a16="http://schemas.microsoft.com/office/drawing/2014/main" id="{5010728B-04BF-094B-AF30-F8A14513DC4C}"/>
              </a:ext>
            </a:extLst>
          </p:cNvPr>
          <p:cNvPicPr>
            <a:picLocks noChangeAspect="1"/>
          </p:cNvPicPr>
          <p:nvPr/>
        </p:nvPicPr>
        <p:blipFill>
          <a:blip r:embed="rId2"/>
          <a:stretch>
            <a:fillRect/>
          </a:stretch>
        </p:blipFill>
        <p:spPr>
          <a:xfrm>
            <a:off x="5562600" y="1736570"/>
            <a:ext cx="5854925" cy="4341619"/>
          </a:xfrm>
          <a:prstGeom prst="rect">
            <a:avLst/>
          </a:prstGeom>
        </p:spPr>
      </p:pic>
    </p:spTree>
    <p:extLst>
      <p:ext uri="{BB962C8B-B14F-4D97-AF65-F5344CB8AC3E}">
        <p14:creationId xmlns:p14="http://schemas.microsoft.com/office/powerpoint/2010/main" val="4181460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018E4-9E1C-B878-8B11-05342F6D31B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64F2878-DFC8-4C21-37DC-3DB8F490595C}"/>
              </a:ext>
            </a:extLst>
          </p:cNvPr>
          <p:cNvSpPr>
            <a:spLocks noGrp="1"/>
          </p:cNvSpPr>
          <p:nvPr>
            <p:ph type="title"/>
          </p:nvPr>
        </p:nvSpPr>
        <p:spPr/>
        <p:txBody>
          <a:bodyPr/>
          <a:lstStyle/>
          <a:p>
            <a:r>
              <a:rPr lang="en-US" dirty="0"/>
              <a:t>Applicant Center</a:t>
            </a:r>
          </a:p>
        </p:txBody>
      </p:sp>
      <p:sp>
        <p:nvSpPr>
          <p:cNvPr id="9" name="Text Placeholder 8">
            <a:extLst>
              <a:ext uri="{FF2B5EF4-FFF2-40B4-BE49-F238E27FC236}">
                <a16:creationId xmlns:a16="http://schemas.microsoft.com/office/drawing/2014/main" id="{4DF21F25-5781-B3FD-73DA-3317473FE9EC}"/>
              </a:ext>
            </a:extLst>
          </p:cNvPr>
          <p:cNvSpPr>
            <a:spLocks noGrp="1"/>
          </p:cNvSpPr>
          <p:nvPr>
            <p:ph type="subTitle" idx="13"/>
          </p:nvPr>
        </p:nvSpPr>
        <p:spPr/>
        <p:txBody>
          <a:bodyPr/>
          <a:lstStyle/>
          <a:p>
            <a:r>
              <a:rPr lang="en-US" dirty="0"/>
              <a:t>Applicant survey</a:t>
            </a:r>
          </a:p>
        </p:txBody>
      </p:sp>
      <p:sp>
        <p:nvSpPr>
          <p:cNvPr id="12" name="Content Placeholder 11">
            <a:extLst>
              <a:ext uri="{FF2B5EF4-FFF2-40B4-BE49-F238E27FC236}">
                <a16:creationId xmlns:a16="http://schemas.microsoft.com/office/drawing/2014/main" id="{AF752D05-2477-137B-EC22-8C4F9F77F1F6}"/>
              </a:ext>
            </a:extLst>
          </p:cNvPr>
          <p:cNvSpPr>
            <a:spLocks noGrp="1"/>
          </p:cNvSpPr>
          <p:nvPr>
            <p:ph type="body" sz="quarter" idx="16"/>
          </p:nvPr>
        </p:nvSpPr>
        <p:spPr>
          <a:xfrm>
            <a:off x="544830" y="1955800"/>
            <a:ext cx="3671570" cy="4270248"/>
          </a:xfrm>
        </p:spPr>
        <p:txBody>
          <a:bodyPr/>
          <a:lstStyle/>
          <a:p>
            <a:r>
              <a:rPr lang="en-US" dirty="0"/>
              <a:t>Receiving feedback from applicants can improve the hiring process. Applicants can submit feedback using the Applicant survey on the Applicant Center.</a:t>
            </a:r>
          </a:p>
        </p:txBody>
      </p:sp>
      <p:pic>
        <p:nvPicPr>
          <p:cNvPr id="2" name="Picture 1">
            <a:extLst>
              <a:ext uri="{FF2B5EF4-FFF2-40B4-BE49-F238E27FC236}">
                <a16:creationId xmlns:a16="http://schemas.microsoft.com/office/drawing/2014/main" id="{0BD859E6-A648-DF94-E7E9-9C69004F6257}"/>
              </a:ext>
            </a:extLst>
          </p:cNvPr>
          <p:cNvPicPr>
            <a:picLocks noChangeAspect="1"/>
          </p:cNvPicPr>
          <p:nvPr/>
        </p:nvPicPr>
        <p:blipFill>
          <a:blip r:embed="rId2"/>
          <a:srcRect l="15397" t="10799" r="14995" b="31415"/>
          <a:stretch>
            <a:fillRect/>
          </a:stretch>
        </p:blipFill>
        <p:spPr>
          <a:xfrm>
            <a:off x="4424865" y="1955800"/>
            <a:ext cx="7219130" cy="3614460"/>
          </a:xfrm>
          <a:prstGeom prst="rect">
            <a:avLst/>
          </a:prstGeom>
        </p:spPr>
      </p:pic>
    </p:spTree>
    <p:extLst>
      <p:ext uri="{BB962C8B-B14F-4D97-AF65-F5344CB8AC3E}">
        <p14:creationId xmlns:p14="http://schemas.microsoft.com/office/powerpoint/2010/main" val="31763067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00D18-BA95-5933-8201-A901F66463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4B20F1-A868-1F0C-DEC4-0D01E8516295}"/>
              </a:ext>
            </a:extLst>
          </p:cNvPr>
          <p:cNvSpPr>
            <a:spLocks noGrp="1"/>
          </p:cNvSpPr>
          <p:nvPr>
            <p:ph type="title"/>
          </p:nvPr>
        </p:nvSpPr>
        <p:spPr>
          <a:xfrm>
            <a:off x="548640" y="553413"/>
            <a:ext cx="11089323" cy="4287420"/>
          </a:xfrm>
        </p:spPr>
        <p:txBody>
          <a:bodyPr/>
          <a:lstStyle/>
          <a:p>
            <a:r>
              <a:rPr lang="en-US" dirty="0">
                <a:solidFill>
                  <a:schemeClr val="accent1"/>
                </a:solidFill>
              </a:rPr>
              <a:t>Opportunity Marketplace</a:t>
            </a:r>
            <a:endParaRPr lang="en-US" dirty="0"/>
          </a:p>
        </p:txBody>
      </p:sp>
    </p:spTree>
    <p:extLst>
      <p:ext uri="{BB962C8B-B14F-4D97-AF65-F5344CB8AC3E}">
        <p14:creationId xmlns:p14="http://schemas.microsoft.com/office/powerpoint/2010/main" val="17897988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8265E-7C7C-F568-2D6A-6C76F3ED882B}"/>
              </a:ext>
            </a:extLst>
          </p:cNvPr>
          <p:cNvSpPr>
            <a:spLocks noGrp="1"/>
          </p:cNvSpPr>
          <p:nvPr>
            <p:ph type="title"/>
          </p:nvPr>
        </p:nvSpPr>
        <p:spPr/>
        <p:txBody>
          <a:bodyPr/>
          <a:lstStyle/>
          <a:p>
            <a:r>
              <a:rPr lang="en-US" dirty="0"/>
              <a:t>Opportunity Marketplace overview</a:t>
            </a:r>
          </a:p>
        </p:txBody>
      </p:sp>
      <p:sp>
        <p:nvSpPr>
          <p:cNvPr id="19" name="Subtitle 18">
            <a:extLst>
              <a:ext uri="{FF2B5EF4-FFF2-40B4-BE49-F238E27FC236}">
                <a16:creationId xmlns:a16="http://schemas.microsoft.com/office/drawing/2014/main" id="{2F35FE78-695B-20EA-2679-8ED100866958}"/>
              </a:ext>
            </a:extLst>
          </p:cNvPr>
          <p:cNvSpPr>
            <a:spLocks noGrp="1"/>
          </p:cNvSpPr>
          <p:nvPr>
            <p:ph type="subTitle" idx="13"/>
          </p:nvPr>
        </p:nvSpPr>
        <p:spPr/>
        <p:txBody>
          <a:bodyPr/>
          <a:lstStyle/>
          <a:p>
            <a:r>
              <a:rPr lang="en-US" b="1" dirty="0">
                <a:solidFill>
                  <a:schemeClr val="accent1"/>
                </a:solidFill>
                <a:latin typeface="Century Gothic" panose="020F0302020204030204"/>
              </a:rPr>
              <a:t>Opportunity Marketplace allows employees to explore and apply for internal job postings and other available opportunities</a:t>
            </a:r>
          </a:p>
          <a:p>
            <a:endParaRPr lang="en-US" dirty="0"/>
          </a:p>
        </p:txBody>
      </p:sp>
      <p:sp>
        <p:nvSpPr>
          <p:cNvPr id="20" name="Text Placeholder 19">
            <a:extLst>
              <a:ext uri="{FF2B5EF4-FFF2-40B4-BE49-F238E27FC236}">
                <a16:creationId xmlns:a16="http://schemas.microsoft.com/office/drawing/2014/main" id="{4E9F7CD3-5901-A386-EAC1-DC06DD85B470}"/>
              </a:ext>
            </a:extLst>
          </p:cNvPr>
          <p:cNvSpPr>
            <a:spLocks noGrp="1"/>
          </p:cNvSpPr>
          <p:nvPr>
            <p:ph type="body" sz="quarter" idx="16"/>
          </p:nvPr>
        </p:nvSpPr>
        <p:spPr/>
        <p:txBody>
          <a:bodyPr vert="horz" lIns="0" tIns="0" rIns="0" bIns="0" rtlCol="0" anchor="t">
            <a:noAutofit/>
          </a:bodyPr>
          <a:lstStyle/>
          <a:p>
            <a:pPr marL="338455" indent="-342900">
              <a:buFont typeface="Arial"/>
              <a:buChar char="•"/>
            </a:pPr>
            <a:r>
              <a:rPr lang="en-US" dirty="0">
                <a:ea typeface="+mn-lt"/>
                <a:cs typeface="+mn-lt"/>
              </a:rPr>
              <a:t>Search and explore available opportunities</a:t>
            </a:r>
            <a:endParaRPr lang="en-US" dirty="0"/>
          </a:p>
          <a:p>
            <a:pPr marL="338455" indent="-342900">
              <a:buFont typeface="Arial"/>
              <a:buChar char="•"/>
            </a:pPr>
            <a:r>
              <a:rPr lang="en-US" dirty="0">
                <a:ea typeface="+mn-lt"/>
                <a:cs typeface="+mn-lt"/>
              </a:rPr>
              <a:t>View jobs featured by the company</a:t>
            </a:r>
          </a:p>
          <a:p>
            <a:pPr marL="338455" indent="-342900">
              <a:buFont typeface="Arial"/>
              <a:buChar char="•"/>
            </a:pPr>
            <a:r>
              <a:rPr lang="en-US" dirty="0">
                <a:ea typeface="+mn-lt"/>
                <a:cs typeface="+mn-lt"/>
              </a:rPr>
              <a:t>View system-generated job recommendations</a:t>
            </a:r>
          </a:p>
          <a:p>
            <a:pPr>
              <a:buFont typeface="Arial" panose="020B0404040101010104" pitchFamily="34" charset="0"/>
              <a:buChar char="•"/>
            </a:pPr>
            <a:endParaRPr lang="en-US" dirty="0"/>
          </a:p>
        </p:txBody>
      </p:sp>
      <p:sp>
        <p:nvSpPr>
          <p:cNvPr id="6" name="Oval 5">
            <a:extLst>
              <a:ext uri="{FF2B5EF4-FFF2-40B4-BE49-F238E27FC236}">
                <a16:creationId xmlns:a16="http://schemas.microsoft.com/office/drawing/2014/main" id="{22DF3DA6-1169-47B8-6C3F-F6C7DD45AD92}"/>
              </a:ext>
            </a:extLst>
          </p:cNvPr>
          <p:cNvSpPr/>
          <p:nvPr/>
        </p:nvSpPr>
        <p:spPr>
          <a:xfrm>
            <a:off x="6385621" y="2778668"/>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lang="en-US" sz="1200" dirty="0">
                <a:solidFill>
                  <a:schemeClr val="tx1"/>
                </a:solidFill>
                <a:latin typeface="Century Gothic" panose="020F0302020204030204"/>
              </a:rPr>
              <a:t>1</a:t>
            </a:r>
            <a:endParaRPr kumimoji="0" lang="en-US" sz="1200" b="0" i="0" u="none" strike="noStrike" kern="1200" cap="none" spc="0" normalizeH="0" baseline="0" noProof="0" dirty="0">
              <a:ln>
                <a:noFill/>
              </a:ln>
              <a:solidFill>
                <a:schemeClr val="tx1"/>
              </a:solidFill>
              <a:effectLst/>
              <a:uLnTx/>
              <a:uFillTx/>
              <a:latin typeface="Century Gothic" panose="020F0302020204030204"/>
              <a:ea typeface="+mn-ea"/>
              <a:cs typeface="+mn-cs"/>
            </a:endParaRPr>
          </a:p>
        </p:txBody>
      </p:sp>
      <p:sp>
        <p:nvSpPr>
          <p:cNvPr id="7" name="Oval 6">
            <a:extLst>
              <a:ext uri="{FF2B5EF4-FFF2-40B4-BE49-F238E27FC236}">
                <a16:creationId xmlns:a16="http://schemas.microsoft.com/office/drawing/2014/main" id="{CD5BE06F-7091-C2C8-5DE8-C64FD78A2C3F}"/>
              </a:ext>
            </a:extLst>
          </p:cNvPr>
          <p:cNvSpPr/>
          <p:nvPr/>
        </p:nvSpPr>
        <p:spPr>
          <a:xfrm>
            <a:off x="6385622" y="3587923"/>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panose="020F0302020204030204"/>
                <a:ea typeface="+mn-ea"/>
                <a:cs typeface="+mn-cs"/>
              </a:rPr>
              <a:t>2</a:t>
            </a:r>
          </a:p>
        </p:txBody>
      </p:sp>
      <p:sp>
        <p:nvSpPr>
          <p:cNvPr id="8" name="Oval 7">
            <a:extLst>
              <a:ext uri="{FF2B5EF4-FFF2-40B4-BE49-F238E27FC236}">
                <a16:creationId xmlns:a16="http://schemas.microsoft.com/office/drawing/2014/main" id="{70E45D1F-E4F6-E222-AE48-5829B0190C42}"/>
              </a:ext>
            </a:extLst>
          </p:cNvPr>
          <p:cNvSpPr/>
          <p:nvPr/>
        </p:nvSpPr>
        <p:spPr>
          <a:xfrm>
            <a:off x="6385623" y="5444753"/>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lang="en-US" sz="1200" dirty="0">
                <a:solidFill>
                  <a:schemeClr val="tx1"/>
                </a:solidFill>
                <a:latin typeface="Century Gothic" panose="020F0302020204030204"/>
              </a:rPr>
              <a:t>3</a:t>
            </a:r>
            <a:endParaRPr kumimoji="0" lang="en-US" sz="1200" b="0" i="0" u="none" strike="noStrike" kern="1200" cap="none" spc="0" normalizeH="0" baseline="0" noProof="0" dirty="0">
              <a:ln>
                <a:noFill/>
              </a:ln>
              <a:solidFill>
                <a:schemeClr val="tx1"/>
              </a:solidFill>
              <a:effectLst/>
              <a:uLnTx/>
              <a:uFillTx/>
              <a:latin typeface="Century Gothic" panose="020F0302020204030204"/>
              <a:ea typeface="+mn-ea"/>
              <a:cs typeface="+mn-cs"/>
            </a:endParaRPr>
          </a:p>
        </p:txBody>
      </p:sp>
      <p:grpSp>
        <p:nvGrpSpPr>
          <p:cNvPr id="4" name="Group 3">
            <a:extLst>
              <a:ext uri="{FF2B5EF4-FFF2-40B4-BE49-F238E27FC236}">
                <a16:creationId xmlns:a16="http://schemas.microsoft.com/office/drawing/2014/main" id="{5A70BB80-5CE9-FFB5-0698-B0F2AA42D6A2}"/>
              </a:ext>
            </a:extLst>
          </p:cNvPr>
          <p:cNvGrpSpPr/>
          <p:nvPr/>
        </p:nvGrpSpPr>
        <p:grpSpPr>
          <a:xfrm>
            <a:off x="6273799" y="1574690"/>
            <a:ext cx="4843711" cy="4651358"/>
            <a:chOff x="6374168" y="1083077"/>
            <a:chExt cx="4965912" cy="5053098"/>
          </a:xfrm>
        </p:grpSpPr>
        <p:pic>
          <p:nvPicPr>
            <p:cNvPr id="5" name="Picture 4">
              <a:extLst>
                <a:ext uri="{FF2B5EF4-FFF2-40B4-BE49-F238E27FC236}">
                  <a16:creationId xmlns:a16="http://schemas.microsoft.com/office/drawing/2014/main" id="{8512B83B-F32A-4666-7D85-EA6F0CAECF0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74168" y="1111127"/>
              <a:ext cx="4965912" cy="5025048"/>
            </a:xfrm>
            <a:prstGeom prst="rect">
              <a:avLst/>
            </a:prstGeom>
          </p:spPr>
        </p:pic>
        <p:pic>
          <p:nvPicPr>
            <p:cNvPr id="4098" name="Picture 2">
              <a:extLst>
                <a:ext uri="{FF2B5EF4-FFF2-40B4-BE49-F238E27FC236}">
                  <a16:creationId xmlns:a16="http://schemas.microsoft.com/office/drawing/2014/main" id="{1691D4DF-C472-B894-C251-0265F12B0A3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81902"/>
            <a:stretch/>
          </p:blipFill>
          <p:spPr bwMode="auto">
            <a:xfrm>
              <a:off x="6374168" y="1083077"/>
              <a:ext cx="4965912" cy="5538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6502676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8265E-7C7C-F568-2D6A-6C76F3ED882B}"/>
              </a:ext>
            </a:extLst>
          </p:cNvPr>
          <p:cNvSpPr>
            <a:spLocks noGrp="1"/>
          </p:cNvSpPr>
          <p:nvPr>
            <p:ph type="title"/>
          </p:nvPr>
        </p:nvSpPr>
        <p:spPr/>
        <p:txBody>
          <a:bodyPr/>
          <a:lstStyle/>
          <a:p>
            <a:r>
              <a:rPr lang="en-US" dirty="0"/>
              <a:t>Opportunity Marketplace overview</a:t>
            </a:r>
          </a:p>
        </p:txBody>
      </p:sp>
      <p:sp>
        <p:nvSpPr>
          <p:cNvPr id="19" name="Text Placeholder 18">
            <a:extLst>
              <a:ext uri="{FF2B5EF4-FFF2-40B4-BE49-F238E27FC236}">
                <a16:creationId xmlns:a16="http://schemas.microsoft.com/office/drawing/2014/main" id="{6532ABB2-BB2B-89FC-6E46-BF6B5C435325}"/>
              </a:ext>
            </a:extLst>
          </p:cNvPr>
          <p:cNvSpPr>
            <a:spLocks noGrp="1"/>
          </p:cNvSpPr>
          <p:nvPr>
            <p:ph type="body" sz="quarter" idx="16"/>
          </p:nvPr>
        </p:nvSpPr>
        <p:spPr>
          <a:xfrm>
            <a:off x="544830" y="1955800"/>
            <a:ext cx="5549582" cy="4270248"/>
          </a:xfrm>
        </p:spPr>
        <p:txBody>
          <a:bodyPr vert="horz" lIns="0" tIns="0" rIns="0" bIns="0" rtlCol="0" anchor="t">
            <a:noAutofit/>
          </a:bodyPr>
          <a:lstStyle/>
          <a:p>
            <a:pPr marL="338455" indent="-342900">
              <a:buFont typeface="Arial"/>
              <a:buChar char="•"/>
            </a:pPr>
            <a:r>
              <a:rPr lang="en-US" dirty="0">
                <a:ea typeface="+mn-lt"/>
                <a:cs typeface="+mn-lt"/>
              </a:rPr>
              <a:t>View any opportunities that have been shared with you</a:t>
            </a:r>
            <a:endParaRPr lang="en-US" dirty="0"/>
          </a:p>
          <a:p>
            <a:pPr marL="338455" indent="-342900">
              <a:buFont typeface="Arial"/>
              <a:buChar char="•"/>
            </a:pPr>
            <a:r>
              <a:rPr lang="en-US" dirty="0">
                <a:ea typeface="+mn-lt"/>
                <a:cs typeface="+mn-lt"/>
              </a:rPr>
              <a:t>View testimonials from other colleagues that highlight their success</a:t>
            </a:r>
          </a:p>
          <a:p>
            <a:pPr marL="338455" indent="-342900">
              <a:buFont typeface="Arial"/>
              <a:buChar char="•"/>
            </a:pPr>
            <a:r>
              <a:rPr lang="en-US" dirty="0">
                <a:ea typeface="+mn-lt"/>
                <a:cs typeface="+mn-lt"/>
              </a:rPr>
              <a:t>View statuses of existing applications</a:t>
            </a:r>
          </a:p>
          <a:p>
            <a:pPr>
              <a:buFont typeface="Arial" panose="020B0404040101010104" pitchFamily="34" charset="0"/>
              <a:buChar char="•"/>
            </a:pPr>
            <a:endParaRPr lang="en-US" dirty="0"/>
          </a:p>
        </p:txBody>
      </p:sp>
      <p:grpSp>
        <p:nvGrpSpPr>
          <p:cNvPr id="5" name="Group 4">
            <a:extLst>
              <a:ext uri="{FF2B5EF4-FFF2-40B4-BE49-F238E27FC236}">
                <a16:creationId xmlns:a16="http://schemas.microsoft.com/office/drawing/2014/main" id="{2B9F0757-6F38-B28B-3554-BB4398AA9528}"/>
              </a:ext>
            </a:extLst>
          </p:cNvPr>
          <p:cNvGrpSpPr/>
          <p:nvPr/>
        </p:nvGrpSpPr>
        <p:grpSpPr>
          <a:xfrm>
            <a:off x="7327899" y="1294703"/>
            <a:ext cx="3726837" cy="4839398"/>
            <a:chOff x="7093729" y="896905"/>
            <a:chExt cx="4202356" cy="5752858"/>
          </a:xfrm>
        </p:grpSpPr>
        <p:pic>
          <p:nvPicPr>
            <p:cNvPr id="4" name="Picture 3">
              <a:extLst>
                <a:ext uri="{FF2B5EF4-FFF2-40B4-BE49-F238E27FC236}">
                  <a16:creationId xmlns:a16="http://schemas.microsoft.com/office/drawing/2014/main" id="{F3E856AE-6EFC-4B98-BB75-BD68FB111E01}"/>
                </a:ext>
              </a:extLst>
            </p:cNvPr>
            <p:cNvPicPr>
              <a:picLocks noChangeAspect="1"/>
            </p:cNvPicPr>
            <p:nvPr/>
          </p:nvPicPr>
          <p:blipFill>
            <a:blip r:embed="rId3"/>
            <a:stretch>
              <a:fillRect/>
            </a:stretch>
          </p:blipFill>
          <p:spPr>
            <a:xfrm>
              <a:off x="7093729" y="896905"/>
              <a:ext cx="4202356" cy="1539405"/>
            </a:xfrm>
            <a:prstGeom prst="rect">
              <a:avLst/>
            </a:prstGeom>
            <a:solidFill>
              <a:schemeClr val="accent1"/>
            </a:solidFill>
          </p:spPr>
        </p:pic>
        <p:pic>
          <p:nvPicPr>
            <p:cNvPr id="9" name="Picture 8">
              <a:extLst>
                <a:ext uri="{FF2B5EF4-FFF2-40B4-BE49-F238E27FC236}">
                  <a16:creationId xmlns:a16="http://schemas.microsoft.com/office/drawing/2014/main" id="{E5A59453-17D4-B165-35F8-34641EAC7A30}"/>
                </a:ext>
              </a:extLst>
            </p:cNvPr>
            <p:cNvPicPr>
              <a:picLocks noChangeAspect="1"/>
            </p:cNvPicPr>
            <p:nvPr/>
          </p:nvPicPr>
          <p:blipFill>
            <a:blip r:embed="rId4"/>
            <a:stretch>
              <a:fillRect/>
            </a:stretch>
          </p:blipFill>
          <p:spPr>
            <a:xfrm>
              <a:off x="7093729" y="2436310"/>
              <a:ext cx="4202356" cy="1819356"/>
            </a:xfrm>
            <a:prstGeom prst="rect">
              <a:avLst/>
            </a:prstGeom>
            <a:solidFill>
              <a:schemeClr val="accent1"/>
            </a:solidFill>
          </p:spPr>
        </p:pic>
        <p:pic>
          <p:nvPicPr>
            <p:cNvPr id="10" name="Picture 9">
              <a:extLst>
                <a:ext uri="{FF2B5EF4-FFF2-40B4-BE49-F238E27FC236}">
                  <a16:creationId xmlns:a16="http://schemas.microsoft.com/office/drawing/2014/main" id="{2874D609-169B-6D5B-9202-1795B8841C9B}"/>
                </a:ext>
              </a:extLst>
            </p:cNvPr>
            <p:cNvPicPr>
              <a:picLocks noChangeAspect="1"/>
            </p:cNvPicPr>
            <p:nvPr/>
          </p:nvPicPr>
          <p:blipFill>
            <a:blip r:embed="rId5"/>
            <a:stretch>
              <a:fillRect/>
            </a:stretch>
          </p:blipFill>
          <p:spPr>
            <a:xfrm>
              <a:off x="7093729" y="4245285"/>
              <a:ext cx="4202356" cy="2404478"/>
            </a:xfrm>
            <a:prstGeom prst="rect">
              <a:avLst/>
            </a:prstGeom>
          </p:spPr>
        </p:pic>
      </p:grpSp>
    </p:spTree>
    <p:extLst>
      <p:ext uri="{BB962C8B-B14F-4D97-AF65-F5344CB8AC3E}">
        <p14:creationId xmlns:p14="http://schemas.microsoft.com/office/powerpoint/2010/main" val="7011553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4B1E9-91A4-4FAA-C6C8-82D7B051A9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33949D-C470-8C94-DC72-186F53D56996}"/>
              </a:ext>
            </a:extLst>
          </p:cNvPr>
          <p:cNvSpPr>
            <a:spLocks noGrp="1"/>
          </p:cNvSpPr>
          <p:nvPr>
            <p:ph type="title"/>
          </p:nvPr>
        </p:nvSpPr>
        <p:spPr/>
        <p:txBody>
          <a:bodyPr/>
          <a:lstStyle/>
          <a:p>
            <a:r>
              <a:rPr lang="en-US" dirty="0"/>
              <a:t>Internal jobs</a:t>
            </a:r>
          </a:p>
        </p:txBody>
      </p:sp>
      <p:sp>
        <p:nvSpPr>
          <p:cNvPr id="13" name="Text Placeholder 12">
            <a:extLst>
              <a:ext uri="{FF2B5EF4-FFF2-40B4-BE49-F238E27FC236}">
                <a16:creationId xmlns:a16="http://schemas.microsoft.com/office/drawing/2014/main" id="{B54D76CD-E573-C4CB-DAD2-6AB6B1063D71}"/>
              </a:ext>
            </a:extLst>
          </p:cNvPr>
          <p:cNvSpPr>
            <a:spLocks noGrp="1"/>
          </p:cNvSpPr>
          <p:nvPr>
            <p:ph type="body" sz="quarter" idx="16"/>
          </p:nvPr>
        </p:nvSpPr>
        <p:spPr/>
        <p:txBody>
          <a:bodyPr/>
          <a:lstStyle/>
          <a:p>
            <a:pPr marL="285750" indent="-285750">
              <a:buFont typeface="Arial" panose="020B0604020202020204" pitchFamily="34" charset="0"/>
              <a:buChar char="•"/>
            </a:pPr>
            <a:r>
              <a:rPr lang="en-US" dirty="0">
                <a:latin typeface="Century Gothic"/>
              </a:rPr>
              <a:t>Set up preferences for recommended jobs</a:t>
            </a:r>
            <a:endParaRPr lang="en-US" dirty="0"/>
          </a:p>
          <a:p>
            <a:pPr marL="285750" indent="-285750">
              <a:buFont typeface="Arial" panose="020B0604020202020204" pitchFamily="34" charset="0"/>
              <a:buChar char="•"/>
            </a:pPr>
            <a:r>
              <a:rPr lang="en-US" dirty="0">
                <a:latin typeface="Century Gothic"/>
              </a:rPr>
              <a:t>Browse opportunities</a:t>
            </a:r>
          </a:p>
          <a:p>
            <a:pPr marL="285750" indent="-285750">
              <a:buFont typeface="Arial" panose="020B0604020202020204" pitchFamily="34" charset="0"/>
              <a:buChar char="•"/>
            </a:pPr>
            <a:r>
              <a:rPr lang="en-US" dirty="0">
                <a:latin typeface="Century Gothic"/>
              </a:rPr>
              <a:t>View internal opportunities in a Summary view</a:t>
            </a:r>
            <a:endParaRPr lang="en-US" dirty="0"/>
          </a:p>
          <a:p>
            <a:pPr marL="285750" indent="-285750" fontAlgn="base">
              <a:buFont typeface="Arial" panose="020B0604020202020204" pitchFamily="34" charset="0"/>
              <a:buChar char="•"/>
            </a:pPr>
            <a:r>
              <a:rPr lang="en-US" dirty="0">
                <a:latin typeface="Century Gothic"/>
              </a:rPr>
              <a:t>Apply for opportunities</a:t>
            </a:r>
          </a:p>
          <a:p>
            <a:pPr marL="285750" indent="-285750">
              <a:buFont typeface="Arial" panose="020B0604020202020204" pitchFamily="34" charset="0"/>
              <a:buChar char="•"/>
            </a:pPr>
            <a:r>
              <a:rPr lang="en-US" dirty="0">
                <a:latin typeface="Century Gothic"/>
              </a:rPr>
              <a:t>Refer an opportunity to a friend</a:t>
            </a:r>
            <a:endParaRPr lang="en-US" dirty="0"/>
          </a:p>
          <a:p>
            <a:endParaRPr lang="en-US" dirty="0"/>
          </a:p>
        </p:txBody>
      </p:sp>
      <p:pic>
        <p:nvPicPr>
          <p:cNvPr id="4" name="Picture 3" descr="A screenshot of a application&#10;&#10;AI-generated content may be incorrect.">
            <a:extLst>
              <a:ext uri="{FF2B5EF4-FFF2-40B4-BE49-F238E27FC236}">
                <a16:creationId xmlns:a16="http://schemas.microsoft.com/office/drawing/2014/main" id="{94DF8BF3-754E-F1DD-A3D9-EFA74926C618}"/>
              </a:ext>
            </a:extLst>
          </p:cNvPr>
          <p:cNvPicPr>
            <a:picLocks noChangeAspect="1"/>
          </p:cNvPicPr>
          <p:nvPr/>
        </p:nvPicPr>
        <p:blipFill>
          <a:blip r:embed="rId3"/>
          <a:stretch>
            <a:fillRect/>
          </a:stretch>
        </p:blipFill>
        <p:spPr>
          <a:xfrm>
            <a:off x="6819772" y="879168"/>
            <a:ext cx="4604588" cy="5448480"/>
          </a:xfrm>
          <a:prstGeom prst="rect">
            <a:avLst/>
          </a:prstGeom>
        </p:spPr>
      </p:pic>
    </p:spTree>
    <p:extLst>
      <p:ext uri="{BB962C8B-B14F-4D97-AF65-F5344CB8AC3E}">
        <p14:creationId xmlns:p14="http://schemas.microsoft.com/office/powerpoint/2010/main" val="314080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3F8EB-8803-0012-122F-1B9760E0E2F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43C9E80-1C8A-A5AD-495F-DF5982451BE4}"/>
              </a:ext>
            </a:extLst>
          </p:cNvPr>
          <p:cNvSpPr>
            <a:spLocks noGrp="1"/>
          </p:cNvSpPr>
          <p:nvPr>
            <p:ph type="title"/>
          </p:nvPr>
        </p:nvSpPr>
        <p:spPr>
          <a:xfrm>
            <a:off x="548640" y="530352"/>
            <a:ext cx="11082973" cy="594360"/>
          </a:xfrm>
        </p:spPr>
        <p:txBody>
          <a:bodyPr/>
          <a:lstStyle/>
          <a:p>
            <a:r>
              <a:rPr lang="en-US" dirty="0"/>
              <a:t>Hiring Experiences requirements</a:t>
            </a:r>
          </a:p>
        </p:txBody>
      </p:sp>
      <p:sp>
        <p:nvSpPr>
          <p:cNvPr id="2" name="Rounded Rectangle 14">
            <a:extLst>
              <a:ext uri="{FF2B5EF4-FFF2-40B4-BE49-F238E27FC236}">
                <a16:creationId xmlns:a16="http://schemas.microsoft.com/office/drawing/2014/main" id="{41AC0F77-5211-A063-7CFD-23227B2C0FB6}"/>
              </a:ext>
              <a:ext uri="{C183D7F6-B498-43B3-948B-1728B52AA6E4}">
                <adec:decorative xmlns:adec="http://schemas.microsoft.com/office/drawing/2017/decorative" val="1"/>
              </a:ext>
            </a:extLst>
          </p:cNvPr>
          <p:cNvSpPr/>
          <p:nvPr/>
        </p:nvSpPr>
        <p:spPr>
          <a:xfrm>
            <a:off x="539993"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solidFill>
                <a:srgbClr val="FFFFFF"/>
              </a:solidFill>
              <a:latin typeface="ServiceNow Sans" panose="020B0504040101010104" pitchFamily="34" charset="77"/>
              <a:cs typeface="ServiceNow Sans" panose="020B0504040101010104" pitchFamily="34" charset="77"/>
            </a:endParaRPr>
          </a:p>
        </p:txBody>
      </p:sp>
      <p:grpSp>
        <p:nvGrpSpPr>
          <p:cNvPr id="3" name="Group 2">
            <a:extLst>
              <a:ext uri="{FF2B5EF4-FFF2-40B4-BE49-F238E27FC236}">
                <a16:creationId xmlns:a16="http://schemas.microsoft.com/office/drawing/2014/main" id="{8169D8B4-A3CF-B046-3E34-C64DD7A38359}"/>
              </a:ext>
              <a:ext uri="{C183D7F6-B498-43B3-948B-1728B52AA6E4}">
                <adec:decorative xmlns:adec="http://schemas.microsoft.com/office/drawing/2017/decorative" val="1"/>
              </a:ext>
            </a:extLst>
          </p:cNvPr>
          <p:cNvGrpSpPr/>
          <p:nvPr/>
        </p:nvGrpSpPr>
        <p:grpSpPr>
          <a:xfrm>
            <a:off x="538115" y="1420312"/>
            <a:ext cx="2661856" cy="734784"/>
            <a:chOff x="3998216" y="4807544"/>
            <a:chExt cx="2232977" cy="880287"/>
          </a:xfrm>
        </p:grpSpPr>
        <p:sp>
          <p:nvSpPr>
            <p:cNvPr id="5" name="Rounded Rectangle 4">
              <a:extLst>
                <a:ext uri="{FF2B5EF4-FFF2-40B4-BE49-F238E27FC236}">
                  <a16:creationId xmlns:a16="http://schemas.microsoft.com/office/drawing/2014/main" id="{87616D33-AFAB-A67A-9985-60359E4FF585}"/>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6" name="Rounded Rectangle 5">
              <a:extLst>
                <a:ext uri="{FF2B5EF4-FFF2-40B4-BE49-F238E27FC236}">
                  <a16:creationId xmlns:a16="http://schemas.microsoft.com/office/drawing/2014/main" id="{B2B04464-DDF6-AD61-AA62-E2E083053E1E}"/>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rPr>
                <a:t>Hiring Core</a:t>
              </a:r>
              <a:endParaRPr lang="en-US" dirty="0"/>
            </a:p>
          </p:txBody>
        </p:sp>
      </p:grpSp>
      <p:sp>
        <p:nvSpPr>
          <p:cNvPr id="7" name="Rounded Rectangle 14">
            <a:extLst>
              <a:ext uri="{FF2B5EF4-FFF2-40B4-BE49-F238E27FC236}">
                <a16:creationId xmlns:a16="http://schemas.microsoft.com/office/drawing/2014/main" id="{C733D7D2-466C-E50C-E38B-AF82DC3DBBA7}"/>
              </a:ext>
              <a:ext uri="{C183D7F6-B498-43B3-948B-1728B52AA6E4}">
                <adec:decorative xmlns:adec="http://schemas.microsoft.com/office/drawing/2017/decorative" val="1"/>
              </a:ext>
            </a:extLst>
          </p:cNvPr>
          <p:cNvSpPr/>
          <p:nvPr/>
        </p:nvSpPr>
        <p:spPr>
          <a:xfrm>
            <a:off x="3359305"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solidFill>
                <a:srgbClr val="FFFFFF"/>
              </a:solidFill>
              <a:latin typeface="ServiceNow Sans" panose="020B0504040101010104" pitchFamily="34" charset="77"/>
              <a:cs typeface="ServiceNow Sans" panose="020B0504040101010104" pitchFamily="34" charset="77"/>
            </a:endParaRPr>
          </a:p>
        </p:txBody>
      </p:sp>
      <p:sp>
        <p:nvSpPr>
          <p:cNvPr id="8" name="Rounded Rectangle 14">
            <a:extLst>
              <a:ext uri="{FF2B5EF4-FFF2-40B4-BE49-F238E27FC236}">
                <a16:creationId xmlns:a16="http://schemas.microsoft.com/office/drawing/2014/main" id="{E9400BE5-18C6-5BD9-4260-614BFF94D32B}"/>
              </a:ext>
              <a:ext uri="{C183D7F6-B498-43B3-948B-1728B52AA6E4}">
                <adec:decorative xmlns:adec="http://schemas.microsoft.com/office/drawing/2017/decorative" val="1"/>
              </a:ext>
            </a:extLst>
          </p:cNvPr>
          <p:cNvSpPr/>
          <p:nvPr/>
        </p:nvSpPr>
        <p:spPr>
          <a:xfrm>
            <a:off x="6178617"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solidFill>
                <a:srgbClr val="FFFFFF"/>
              </a:solidFill>
              <a:latin typeface="ServiceNow Sans"/>
              <a:cs typeface="ServiceNow Sans" panose="020B0504040101010104" pitchFamily="34" charset="77"/>
            </a:endParaRPr>
          </a:p>
        </p:txBody>
      </p:sp>
      <p:sp>
        <p:nvSpPr>
          <p:cNvPr id="10" name="Rounded Rectangle 14">
            <a:extLst>
              <a:ext uri="{FF2B5EF4-FFF2-40B4-BE49-F238E27FC236}">
                <a16:creationId xmlns:a16="http://schemas.microsoft.com/office/drawing/2014/main" id="{2AA24A1D-4277-8D27-1C02-CCF2CB56F597}"/>
              </a:ext>
              <a:ext uri="{C183D7F6-B498-43B3-948B-1728B52AA6E4}">
                <adec:decorative xmlns:adec="http://schemas.microsoft.com/office/drawing/2017/decorative" val="1"/>
              </a:ext>
            </a:extLst>
          </p:cNvPr>
          <p:cNvSpPr/>
          <p:nvPr/>
        </p:nvSpPr>
        <p:spPr>
          <a:xfrm>
            <a:off x="8997458" y="2275216"/>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latin typeface="ServiceNow Sans"/>
            </a:endParaRPr>
          </a:p>
        </p:txBody>
      </p:sp>
      <p:grpSp>
        <p:nvGrpSpPr>
          <p:cNvPr id="11" name="Group 10">
            <a:extLst>
              <a:ext uri="{FF2B5EF4-FFF2-40B4-BE49-F238E27FC236}">
                <a16:creationId xmlns:a16="http://schemas.microsoft.com/office/drawing/2014/main" id="{F2328CB3-CCA1-9C40-B7FF-CE4B4A6523DF}"/>
              </a:ext>
              <a:ext uri="{C183D7F6-B498-43B3-948B-1728B52AA6E4}">
                <adec:decorative xmlns:adec="http://schemas.microsoft.com/office/drawing/2017/decorative" val="1"/>
              </a:ext>
            </a:extLst>
          </p:cNvPr>
          <p:cNvGrpSpPr/>
          <p:nvPr/>
        </p:nvGrpSpPr>
        <p:grpSpPr>
          <a:xfrm>
            <a:off x="3366594" y="1420311"/>
            <a:ext cx="2661856" cy="734784"/>
            <a:chOff x="3998216" y="4807544"/>
            <a:chExt cx="2232977" cy="880287"/>
          </a:xfrm>
        </p:grpSpPr>
        <p:sp>
          <p:nvSpPr>
            <p:cNvPr id="13" name="Rounded Rectangle 17">
              <a:extLst>
                <a:ext uri="{FF2B5EF4-FFF2-40B4-BE49-F238E27FC236}">
                  <a16:creationId xmlns:a16="http://schemas.microsoft.com/office/drawing/2014/main" id="{8DD9C226-654B-C17B-818B-FA00B7EC11CE}"/>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14" name="Rounded Rectangle 18">
              <a:extLst>
                <a:ext uri="{FF2B5EF4-FFF2-40B4-BE49-F238E27FC236}">
                  <a16:creationId xmlns:a16="http://schemas.microsoft.com/office/drawing/2014/main" id="{8E332003-C02D-84A5-60AD-FD467800C1B7}"/>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rPr>
                <a:t>Manager Hub</a:t>
              </a:r>
            </a:p>
          </p:txBody>
        </p:sp>
      </p:grpSp>
      <p:grpSp>
        <p:nvGrpSpPr>
          <p:cNvPr id="15" name="Group 14">
            <a:extLst>
              <a:ext uri="{FF2B5EF4-FFF2-40B4-BE49-F238E27FC236}">
                <a16:creationId xmlns:a16="http://schemas.microsoft.com/office/drawing/2014/main" id="{D8DFA908-30DD-E406-5881-3C8E019C740E}"/>
              </a:ext>
              <a:ext uri="{C183D7F6-B498-43B3-948B-1728B52AA6E4}">
                <adec:decorative xmlns:adec="http://schemas.microsoft.com/office/drawing/2017/decorative" val="1"/>
              </a:ext>
            </a:extLst>
          </p:cNvPr>
          <p:cNvGrpSpPr/>
          <p:nvPr/>
        </p:nvGrpSpPr>
        <p:grpSpPr>
          <a:xfrm>
            <a:off x="6185858" y="1420311"/>
            <a:ext cx="2661856" cy="734784"/>
            <a:chOff x="3998216" y="4807544"/>
            <a:chExt cx="2232977" cy="880287"/>
          </a:xfrm>
        </p:grpSpPr>
        <p:sp>
          <p:nvSpPr>
            <p:cNvPr id="16" name="Rounded Rectangle 17">
              <a:extLst>
                <a:ext uri="{FF2B5EF4-FFF2-40B4-BE49-F238E27FC236}">
                  <a16:creationId xmlns:a16="http://schemas.microsoft.com/office/drawing/2014/main" id="{82D2E051-7B85-8302-A72A-2CFF0353C98A}"/>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17" name="Rounded Rectangle 18">
              <a:extLst>
                <a:ext uri="{FF2B5EF4-FFF2-40B4-BE49-F238E27FC236}">
                  <a16:creationId xmlns:a16="http://schemas.microsoft.com/office/drawing/2014/main" id="{4F68C01E-7600-4E11-9428-568324468AD9}"/>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cs typeface="ServiceNow Sans" panose="020B0504040101010104" pitchFamily="34" charset="77"/>
                </a:rPr>
                <a:t>Talent Profile</a:t>
              </a: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grpSp>
      <p:grpSp>
        <p:nvGrpSpPr>
          <p:cNvPr id="18" name="Group 17">
            <a:extLst>
              <a:ext uri="{FF2B5EF4-FFF2-40B4-BE49-F238E27FC236}">
                <a16:creationId xmlns:a16="http://schemas.microsoft.com/office/drawing/2014/main" id="{F48E7827-22F3-E9C9-9F7C-3D1F2E4568CC}"/>
              </a:ext>
              <a:ext uri="{C183D7F6-B498-43B3-948B-1728B52AA6E4}">
                <adec:decorative xmlns:adec="http://schemas.microsoft.com/office/drawing/2017/decorative" val="1"/>
              </a:ext>
            </a:extLst>
          </p:cNvPr>
          <p:cNvGrpSpPr/>
          <p:nvPr/>
        </p:nvGrpSpPr>
        <p:grpSpPr>
          <a:xfrm>
            <a:off x="9005123" y="1420312"/>
            <a:ext cx="2661856" cy="734784"/>
            <a:chOff x="3998216" y="4807544"/>
            <a:chExt cx="2232977" cy="880287"/>
          </a:xfrm>
        </p:grpSpPr>
        <p:sp>
          <p:nvSpPr>
            <p:cNvPr id="20" name="Rounded Rectangle 17">
              <a:extLst>
                <a:ext uri="{FF2B5EF4-FFF2-40B4-BE49-F238E27FC236}">
                  <a16:creationId xmlns:a16="http://schemas.microsoft.com/office/drawing/2014/main" id="{8DB7B136-1D77-4BAB-4AC0-708D74397CF2}"/>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21" name="Rounded Rectangle 18">
              <a:extLst>
                <a:ext uri="{FF2B5EF4-FFF2-40B4-BE49-F238E27FC236}">
                  <a16:creationId xmlns:a16="http://schemas.microsoft.com/office/drawing/2014/main" id="{1EDDD80B-4917-9D9E-7462-77677C575989}"/>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rPr>
                <a:t>Job Requisition Management</a:t>
              </a:r>
              <a:endParaRPr lang="en-US" sz="1600" dirty="0"/>
            </a:p>
          </p:txBody>
        </p:sp>
      </p:grpSp>
      <p:sp>
        <p:nvSpPr>
          <p:cNvPr id="9" name="Rectangle 8">
            <a:extLst>
              <a:ext uri="{FF2B5EF4-FFF2-40B4-BE49-F238E27FC236}">
                <a16:creationId xmlns:a16="http://schemas.microsoft.com/office/drawing/2014/main" id="{D331683A-CABD-734B-B513-48FE66A234A6}"/>
              </a:ext>
            </a:extLst>
          </p:cNvPr>
          <p:cNvSpPr/>
          <p:nvPr/>
        </p:nvSpPr>
        <p:spPr>
          <a:xfrm>
            <a:off x="659757" y="2395959"/>
            <a:ext cx="2419109" cy="28473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Integration with ATS</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Company job architecture</a:t>
            </a:r>
            <a:endParaRPr lang="en-US" sz="1400" dirty="0">
              <a:solidFill>
                <a:srgbClr val="FFFFFF"/>
              </a:solidFill>
              <a:highlight>
                <a:srgbClr val="0000FF"/>
              </a:highlight>
              <a:latin typeface="ServiceNow Sans"/>
              <a:cs typeface="ServiceNow Sans" panose="020B0504040101010104" pitchFamily="34" charset="77"/>
            </a:endParaRPr>
          </a:p>
          <a:p>
            <a:pPr marL="285275" indent="-285750">
              <a:buFont typeface="Wingdings" pitchFamily="2" charset="2"/>
              <a:buChar char="q"/>
            </a:pPr>
            <a:r>
              <a:rPr lang="en-US" sz="1400" dirty="0">
                <a:solidFill>
                  <a:srgbClr val="FFFFFF"/>
                </a:solidFill>
                <a:latin typeface="ServiceNow Sans"/>
                <a:cs typeface="ServiceNow Sans" panose="020B0504040101010104" pitchFamily="34" charset="77"/>
              </a:rPr>
              <a:t>Purge policies</a:t>
            </a:r>
          </a:p>
          <a:p>
            <a:pPr marL="285275" indent="-285750">
              <a:buFont typeface="Wingdings" pitchFamily="2" charset="2"/>
              <a:buChar char="q"/>
            </a:pPr>
            <a:r>
              <a:rPr lang="en-US" sz="1400" dirty="0">
                <a:solidFill>
                  <a:srgbClr val="FFFFFF"/>
                </a:solidFill>
                <a:latin typeface="ServiceNow Sans"/>
                <a:cs typeface="ServiceNow Sans" panose="020B0504040101010104" pitchFamily="34" charset="77"/>
              </a:rPr>
              <a:t>Cascade rules for cleaning data</a:t>
            </a:r>
            <a:endParaRPr lang="en-US" sz="1400" dirty="0">
              <a:solidFill>
                <a:srgbClr val="FFFFFF"/>
              </a:solidFill>
              <a:latin typeface="ServiceNow Sans" panose="020B0504040101010104" pitchFamily="34" charset="77"/>
              <a:cs typeface="ServiceNow Sans" panose="020B0504040101010104" pitchFamily="34" charset="77"/>
            </a:endParaRPr>
          </a:p>
        </p:txBody>
      </p:sp>
      <p:sp>
        <p:nvSpPr>
          <p:cNvPr id="19" name="Rectangle 18">
            <a:extLst>
              <a:ext uri="{FF2B5EF4-FFF2-40B4-BE49-F238E27FC236}">
                <a16:creationId xmlns:a16="http://schemas.microsoft.com/office/drawing/2014/main" id="{E5B2D924-2C20-4D5F-BFE2-5FEF79F612C6}"/>
              </a:ext>
            </a:extLst>
          </p:cNvPr>
          <p:cNvSpPr/>
          <p:nvPr/>
        </p:nvSpPr>
        <p:spPr>
          <a:xfrm>
            <a:off x="3472405"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285750">
              <a:buFont typeface="Wingdings" pitchFamily="2" charset="2"/>
              <a:buChar char="q"/>
            </a:pPr>
            <a:r>
              <a:rPr lang="en-US" sz="1400" dirty="0">
                <a:solidFill>
                  <a:srgbClr val="FFFFFF"/>
                </a:solidFill>
                <a:latin typeface="ServiceNow Sans"/>
              </a:rPr>
              <a:t>Hiring tab</a:t>
            </a:r>
          </a:p>
        </p:txBody>
      </p:sp>
      <p:sp>
        <p:nvSpPr>
          <p:cNvPr id="22" name="Rectangle 21">
            <a:extLst>
              <a:ext uri="{FF2B5EF4-FFF2-40B4-BE49-F238E27FC236}">
                <a16:creationId xmlns:a16="http://schemas.microsoft.com/office/drawing/2014/main" id="{2F269A25-E792-3CB9-1252-4891C78370AF}"/>
              </a:ext>
            </a:extLst>
          </p:cNvPr>
          <p:cNvSpPr/>
          <p:nvPr/>
        </p:nvSpPr>
        <p:spPr>
          <a:xfrm>
            <a:off x="6278365"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Talent profile definitions</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Talent types</a:t>
            </a:r>
          </a:p>
        </p:txBody>
      </p:sp>
      <p:sp>
        <p:nvSpPr>
          <p:cNvPr id="23" name="Rectangle 22">
            <a:extLst>
              <a:ext uri="{FF2B5EF4-FFF2-40B4-BE49-F238E27FC236}">
                <a16:creationId xmlns:a16="http://schemas.microsoft.com/office/drawing/2014/main" id="{131FCDDD-DE72-AA36-9A26-FC32D6659B81}"/>
              </a:ext>
            </a:extLst>
          </p:cNvPr>
          <p:cNvSpPr/>
          <p:nvPr/>
        </p:nvSpPr>
        <p:spPr>
          <a:xfrm>
            <a:off x="9097206"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rPr>
              <a:t>Job requisition process</a:t>
            </a:r>
          </a:p>
          <a:p>
            <a:pPr marL="742315" lvl="1" indent="-285750">
              <a:buFont typeface="Wingdings" pitchFamily="2" charset="2"/>
              <a:buChar char="q"/>
            </a:pPr>
            <a:r>
              <a:rPr lang="en-US" sz="1400" dirty="0">
                <a:solidFill>
                  <a:srgbClr val="FFFFFF"/>
                </a:solidFill>
                <a:latin typeface="ServiceNow Sans"/>
              </a:rPr>
              <a:t>New job opening request RP</a:t>
            </a:r>
          </a:p>
          <a:p>
            <a:pPr marL="742315" lvl="1" indent="-285750">
              <a:buFont typeface="Wingdings,Sans-Serif" pitchFamily="2" charset="2"/>
              <a:buChar char="q"/>
            </a:pPr>
            <a:r>
              <a:rPr lang="en-US" sz="1400" dirty="0">
                <a:solidFill>
                  <a:srgbClr val="FFFFFF"/>
                </a:solidFill>
                <a:latin typeface="ServiceNow Sans"/>
              </a:rPr>
              <a:t>Assignment &amp; routing</a:t>
            </a:r>
            <a:endParaRPr lang="en-US" sz="1400" dirty="0">
              <a:solidFill>
                <a:srgbClr val="000000"/>
              </a:solidFill>
              <a:latin typeface="ServiceNow Sans"/>
            </a:endParaRPr>
          </a:p>
          <a:p>
            <a:pPr marL="742315" lvl="1" indent="-285750">
              <a:buFont typeface="Wingdings,Sans-Serif" pitchFamily="2" charset="2"/>
              <a:buChar char="q"/>
            </a:pPr>
            <a:r>
              <a:rPr lang="en-US" sz="1400" dirty="0">
                <a:solidFill>
                  <a:srgbClr val="FFFFFF"/>
                </a:solidFill>
                <a:latin typeface="ServiceNow Sans"/>
              </a:rPr>
              <a:t>Job description templates</a:t>
            </a:r>
            <a:endParaRPr lang="en-US" sz="1400" dirty="0">
              <a:solidFill>
                <a:srgbClr val="000000"/>
              </a:solidFill>
              <a:latin typeface="ServiceNow Sans"/>
            </a:endParaRPr>
          </a:p>
          <a:p>
            <a:pPr marL="742315" lvl="1" indent="-285750">
              <a:buFont typeface="Wingdings" pitchFamily="2" charset="2"/>
              <a:buChar char="q"/>
            </a:pPr>
            <a:r>
              <a:rPr lang="en-US" sz="1400" dirty="0">
                <a:solidFill>
                  <a:srgbClr val="FFFFFF"/>
                </a:solidFill>
                <a:latin typeface="ServiceNow Sans"/>
              </a:rPr>
              <a:t>Approvals</a:t>
            </a:r>
          </a:p>
          <a:p>
            <a:pPr marL="742315" lvl="1" indent="-285750">
              <a:buFont typeface="Wingdings" pitchFamily="2" charset="2"/>
              <a:buChar char="q"/>
            </a:pPr>
            <a:r>
              <a:rPr lang="en-US" sz="1400" dirty="0">
                <a:solidFill>
                  <a:srgbClr val="FFFFFF"/>
                </a:solidFill>
                <a:latin typeface="ServiceNow Sans"/>
              </a:rPr>
              <a:t>Hiring task templates</a:t>
            </a:r>
          </a:p>
          <a:p>
            <a:pPr marL="742315" lvl="1" indent="-285750">
              <a:buFont typeface="Wingdings" pitchFamily="2" charset="2"/>
              <a:buChar char="q"/>
            </a:pPr>
            <a:r>
              <a:rPr lang="en-US" sz="1400" dirty="0">
                <a:solidFill>
                  <a:srgbClr val="FFFFFF"/>
                </a:solidFill>
                <a:latin typeface="ServiceNow Sans"/>
              </a:rPr>
              <a:t>Applicant survey</a:t>
            </a:r>
          </a:p>
          <a:p>
            <a:pPr marL="742315" lvl="1" indent="-285750">
              <a:buFont typeface="Wingdings" pitchFamily="2" charset="2"/>
              <a:buChar char="q"/>
            </a:pPr>
            <a:r>
              <a:rPr lang="en-US" sz="1400" dirty="0">
                <a:solidFill>
                  <a:srgbClr val="FFFFFF"/>
                </a:solidFill>
                <a:latin typeface="ServiceNow Sans"/>
              </a:rPr>
              <a:t>Notification branding</a:t>
            </a:r>
          </a:p>
          <a:p>
            <a:pPr marL="285750" indent="-285750">
              <a:buFont typeface="Wingdings" pitchFamily="2" charset="2"/>
              <a:buChar char="q"/>
            </a:pPr>
            <a:r>
              <a:rPr lang="en-US" sz="1400" dirty="0">
                <a:solidFill>
                  <a:srgbClr val="FFFFFF"/>
                </a:solidFill>
                <a:latin typeface="ServiceNow Sans"/>
              </a:rPr>
              <a:t>AI use case: Create job requisition</a:t>
            </a:r>
          </a:p>
          <a:p>
            <a:pPr marL="285750" indent="-285750">
              <a:buFont typeface="Wingdings" pitchFamily="2" charset="2"/>
              <a:buChar char="q"/>
            </a:pPr>
            <a:r>
              <a:rPr lang="en-US" sz="1400" dirty="0">
                <a:latin typeface="ServiceNow Sans"/>
              </a:rPr>
              <a:t>MS Teams integration</a:t>
            </a:r>
          </a:p>
        </p:txBody>
      </p:sp>
    </p:spTree>
    <p:extLst>
      <p:ext uri="{BB962C8B-B14F-4D97-AF65-F5344CB8AC3E}">
        <p14:creationId xmlns:p14="http://schemas.microsoft.com/office/powerpoint/2010/main" val="25761851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0FE5C-9333-9B49-2D53-7118CA99BF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07B9A5-90B5-F44F-DAF8-B2044B0A9386}"/>
              </a:ext>
            </a:extLst>
          </p:cNvPr>
          <p:cNvSpPr>
            <a:spLocks noGrp="1"/>
          </p:cNvSpPr>
          <p:nvPr>
            <p:ph type="title"/>
          </p:nvPr>
        </p:nvSpPr>
        <p:spPr/>
        <p:txBody>
          <a:bodyPr/>
          <a:lstStyle/>
          <a:p>
            <a:r>
              <a:rPr lang="en-US" dirty="0"/>
              <a:t>Other opportunities</a:t>
            </a:r>
          </a:p>
        </p:txBody>
      </p:sp>
      <p:sp>
        <p:nvSpPr>
          <p:cNvPr id="12" name="Text Placeholder 11">
            <a:extLst>
              <a:ext uri="{FF2B5EF4-FFF2-40B4-BE49-F238E27FC236}">
                <a16:creationId xmlns:a16="http://schemas.microsoft.com/office/drawing/2014/main" id="{49879028-1BFF-2444-1003-4828896BB5E0}"/>
              </a:ext>
            </a:extLst>
          </p:cNvPr>
          <p:cNvSpPr>
            <a:spLocks noGrp="1"/>
          </p:cNvSpPr>
          <p:nvPr>
            <p:ph type="body" sz="quarter" idx="16"/>
          </p:nvPr>
        </p:nvSpPr>
        <p:spPr>
          <a:xfrm>
            <a:off x="544830" y="1955800"/>
            <a:ext cx="4774422" cy="4270248"/>
          </a:xfrm>
        </p:spPr>
        <p:txBody>
          <a:bodyPr/>
          <a:lstStyle/>
          <a:p>
            <a:pPr marL="285750" indent="-285750" fontAlgn="base">
              <a:buFont typeface="Arial" panose="020B0604020202020204" pitchFamily="34" charset="0"/>
              <a:buChar char="•"/>
            </a:pPr>
            <a:r>
              <a:rPr lang="en-US" dirty="0">
                <a:latin typeface="Century Gothic"/>
              </a:rPr>
              <a:t>Review recommended opportunities​</a:t>
            </a:r>
          </a:p>
          <a:p>
            <a:pPr marL="285750" indent="-285750" fontAlgn="base">
              <a:buFont typeface="Arial" panose="020B0604020202020204" pitchFamily="34" charset="0"/>
              <a:buChar char="•"/>
            </a:pPr>
            <a:r>
              <a:rPr lang="en-US" dirty="0">
                <a:latin typeface="Century Gothic"/>
              </a:rPr>
              <a:t>Search for opportunities​</a:t>
            </a:r>
          </a:p>
          <a:p>
            <a:pPr marL="285750" indent="-285750" fontAlgn="base">
              <a:buFont typeface="Arial" panose="020B0604020202020204" pitchFamily="34" charset="0"/>
              <a:buChar char="•"/>
            </a:pPr>
            <a:r>
              <a:rPr lang="en-US" dirty="0">
                <a:latin typeface="Century Gothic"/>
              </a:rPr>
              <a:t>Apply for opportunities</a:t>
            </a:r>
          </a:p>
          <a:p>
            <a:pPr marL="285750" indent="-285750" fontAlgn="base">
              <a:buFont typeface="Arial" panose="020B0604020202020204" pitchFamily="34" charset="0"/>
              <a:buChar char="•"/>
            </a:pPr>
            <a:r>
              <a:rPr lang="en-US" dirty="0">
                <a:latin typeface="Century Gothic"/>
              </a:rPr>
              <a:t>Track opportunities that you have applied to​</a:t>
            </a:r>
          </a:p>
          <a:p>
            <a:endParaRPr lang="en-US" dirty="0"/>
          </a:p>
        </p:txBody>
      </p:sp>
      <p:pic>
        <p:nvPicPr>
          <p:cNvPr id="5122" name="Picture 2">
            <a:extLst>
              <a:ext uri="{FF2B5EF4-FFF2-40B4-BE49-F238E27FC236}">
                <a16:creationId xmlns:a16="http://schemas.microsoft.com/office/drawing/2014/main" id="{ADDA25AE-479C-F063-01EA-1476BB7B2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3221" y="1316293"/>
            <a:ext cx="5898392" cy="5096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0854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AF744-3886-122C-A29E-0A9231AE08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F0FFDC-8F3D-40AC-BB6D-D6B9A6BDB508}"/>
              </a:ext>
            </a:extLst>
          </p:cNvPr>
          <p:cNvSpPr>
            <a:spLocks noGrp="1"/>
          </p:cNvSpPr>
          <p:nvPr>
            <p:ph type="title"/>
          </p:nvPr>
        </p:nvSpPr>
        <p:spPr/>
        <p:txBody>
          <a:bodyPr/>
          <a:lstStyle/>
          <a:p>
            <a:r>
              <a:rPr lang="en-US" dirty="0"/>
              <a:t>Opportunities that you own</a:t>
            </a:r>
          </a:p>
        </p:txBody>
      </p:sp>
      <p:sp>
        <p:nvSpPr>
          <p:cNvPr id="12" name="Text Placeholder 11">
            <a:extLst>
              <a:ext uri="{FF2B5EF4-FFF2-40B4-BE49-F238E27FC236}">
                <a16:creationId xmlns:a16="http://schemas.microsoft.com/office/drawing/2014/main" id="{BA4C9667-5843-D0BE-53F7-03E1F508989F}"/>
              </a:ext>
            </a:extLst>
          </p:cNvPr>
          <p:cNvSpPr>
            <a:spLocks noGrp="1"/>
          </p:cNvSpPr>
          <p:nvPr>
            <p:ph type="body" sz="quarter" idx="16"/>
          </p:nvPr>
        </p:nvSpPr>
        <p:spPr>
          <a:xfrm>
            <a:off x="544830" y="1955800"/>
            <a:ext cx="4430293" cy="4270248"/>
          </a:xfrm>
        </p:spPr>
        <p:txBody>
          <a:bodyPr/>
          <a:lstStyle/>
          <a:p>
            <a:pPr marL="285750" indent="-285750" fontAlgn="base">
              <a:buFont typeface="Arial" panose="020B0604020202020204" pitchFamily="34" charset="0"/>
              <a:buChar char="•"/>
            </a:pPr>
            <a:r>
              <a:rPr lang="en-US" dirty="0">
                <a:solidFill>
                  <a:srgbClr val="FFFFFF"/>
                </a:solidFill>
                <a:latin typeface="Century Gothic" panose="020B0502020202020204" pitchFamily="34" charset="0"/>
              </a:rPr>
              <a:t>Create and post new opportunities</a:t>
            </a:r>
            <a:r>
              <a:rPr lang="en-US" dirty="0">
                <a:solidFill>
                  <a:srgbClr val="000000"/>
                </a:solidFill>
                <a:latin typeface="Century Gothic" panose="020B0502020202020204" pitchFamily="34" charset="0"/>
              </a:rPr>
              <a:t>​</a:t>
            </a:r>
            <a:endParaRPr lang="en-US" dirty="0">
              <a:solidFill>
                <a:srgbClr val="000000"/>
              </a:solidFill>
              <a:latin typeface="Arial" panose="020B0604020202020204" pitchFamily="34" charset="0"/>
            </a:endParaRPr>
          </a:p>
          <a:p>
            <a:pPr marL="285750" indent="-285750" fontAlgn="base">
              <a:buFont typeface="Arial" panose="020B0604020202020204" pitchFamily="34" charset="0"/>
              <a:buChar char="•"/>
            </a:pPr>
            <a:r>
              <a:rPr lang="en-US" dirty="0">
                <a:solidFill>
                  <a:srgbClr val="FFFFFF"/>
                </a:solidFill>
                <a:latin typeface="Century Gothic" panose="020B0502020202020204" pitchFamily="34" charset="0"/>
              </a:rPr>
              <a:t>Review progress of opportunities</a:t>
            </a:r>
            <a:r>
              <a:rPr lang="en-US" dirty="0">
                <a:solidFill>
                  <a:srgbClr val="000000"/>
                </a:solidFill>
                <a:latin typeface="Century Gothic" panose="020B0502020202020204" pitchFamily="34" charset="0"/>
              </a:rPr>
              <a:t>​</a:t>
            </a:r>
            <a:endParaRPr lang="en-US" dirty="0">
              <a:solidFill>
                <a:srgbClr val="000000"/>
              </a:solidFill>
              <a:latin typeface="Arial" panose="020B0604020202020204" pitchFamily="34" charset="0"/>
            </a:endParaRPr>
          </a:p>
          <a:p>
            <a:pPr marL="285750" indent="-285750" fontAlgn="base">
              <a:buFont typeface="Arial" panose="020B0604020202020204" pitchFamily="34" charset="0"/>
              <a:buChar char="•"/>
            </a:pPr>
            <a:r>
              <a:rPr lang="en-US" dirty="0">
                <a:solidFill>
                  <a:srgbClr val="FFFFFF"/>
                </a:solidFill>
                <a:latin typeface="Century Gothic" panose="020B0502020202020204" pitchFamily="34" charset="0"/>
              </a:rPr>
              <a:t>Review applicants for opportunities</a:t>
            </a:r>
            <a:r>
              <a:rPr lang="en-US" dirty="0">
                <a:solidFill>
                  <a:srgbClr val="000000"/>
                </a:solidFill>
                <a:latin typeface="Century Gothic" panose="020B0502020202020204" pitchFamily="34" charset="0"/>
              </a:rPr>
              <a:t>​</a:t>
            </a:r>
            <a:endParaRPr lang="en-US" dirty="0">
              <a:solidFill>
                <a:srgbClr val="000000"/>
              </a:solidFill>
              <a:latin typeface="Arial" panose="020B0604020202020204" pitchFamily="34" charset="0"/>
            </a:endParaRPr>
          </a:p>
          <a:p>
            <a:pPr marL="285750" indent="-285750" fontAlgn="base">
              <a:buFont typeface="Arial" panose="020B0604020202020204" pitchFamily="34" charset="0"/>
              <a:buChar char="•"/>
            </a:pPr>
            <a:r>
              <a:rPr lang="en-US" dirty="0">
                <a:solidFill>
                  <a:srgbClr val="FFFFFF"/>
                </a:solidFill>
                <a:latin typeface="Century Gothic" panose="020B0502020202020204" pitchFamily="34" charset="0"/>
              </a:rPr>
              <a:t>Accept/Decline applicants</a:t>
            </a:r>
            <a:r>
              <a:rPr lang="en-US" dirty="0">
                <a:solidFill>
                  <a:srgbClr val="000000"/>
                </a:solidFill>
                <a:latin typeface="Century Gothic" panose="020B0502020202020204" pitchFamily="34" charset="0"/>
              </a:rPr>
              <a:t>​</a:t>
            </a:r>
            <a:endParaRPr lang="en-US" dirty="0">
              <a:solidFill>
                <a:srgbClr val="000000"/>
              </a:solidFill>
              <a:latin typeface="Arial" panose="020B0604020202020204" pitchFamily="34" charset="0"/>
            </a:endParaRPr>
          </a:p>
          <a:p>
            <a:endParaRPr lang="en-US" dirty="0"/>
          </a:p>
        </p:txBody>
      </p:sp>
      <p:pic>
        <p:nvPicPr>
          <p:cNvPr id="6146" name="Picture 2">
            <a:extLst>
              <a:ext uri="{FF2B5EF4-FFF2-40B4-BE49-F238E27FC236}">
                <a16:creationId xmlns:a16="http://schemas.microsoft.com/office/drawing/2014/main" id="{DC6B780A-A118-1033-2319-DF7E82B273B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60344" y="1607808"/>
            <a:ext cx="6271269" cy="4719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67115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8265E-7C7C-F568-2D6A-6C76F3ED882B}"/>
              </a:ext>
            </a:extLst>
          </p:cNvPr>
          <p:cNvSpPr>
            <a:spLocks noGrp="1"/>
          </p:cNvSpPr>
          <p:nvPr>
            <p:ph type="title"/>
          </p:nvPr>
        </p:nvSpPr>
        <p:spPr/>
        <p:txBody>
          <a:bodyPr/>
          <a:lstStyle/>
          <a:p>
            <a:r>
              <a:rPr lang="en-US" dirty="0"/>
              <a:t>Preferences survey</a:t>
            </a:r>
          </a:p>
        </p:txBody>
      </p:sp>
      <p:sp>
        <p:nvSpPr>
          <p:cNvPr id="17" name="Subtitle 16">
            <a:extLst>
              <a:ext uri="{FF2B5EF4-FFF2-40B4-BE49-F238E27FC236}">
                <a16:creationId xmlns:a16="http://schemas.microsoft.com/office/drawing/2014/main" id="{BCC07735-D4F1-F7EF-616E-2FACCAB9C241}"/>
              </a:ext>
            </a:extLst>
          </p:cNvPr>
          <p:cNvSpPr>
            <a:spLocks noGrp="1"/>
          </p:cNvSpPr>
          <p:nvPr>
            <p:ph type="subTitle" idx="13"/>
          </p:nvPr>
        </p:nvSpPr>
        <p:spPr/>
        <p:txBody>
          <a:bodyPr/>
          <a:lstStyle/>
          <a:p>
            <a:r>
              <a:rPr lang="en-US" b="1" dirty="0">
                <a:solidFill>
                  <a:schemeClr val="accent1"/>
                </a:solidFill>
                <a:latin typeface="Century Gothic" panose="020F0302020204030204"/>
              </a:rPr>
              <a:t>Introductory survey allows employees to set marketplace-specific preferences</a:t>
            </a:r>
          </a:p>
          <a:p>
            <a:endParaRPr lang="en-US" dirty="0"/>
          </a:p>
        </p:txBody>
      </p:sp>
      <p:sp>
        <p:nvSpPr>
          <p:cNvPr id="18" name="Text Placeholder 17">
            <a:extLst>
              <a:ext uri="{FF2B5EF4-FFF2-40B4-BE49-F238E27FC236}">
                <a16:creationId xmlns:a16="http://schemas.microsoft.com/office/drawing/2014/main" id="{6EDAFD92-9589-48AD-64E0-8FBADF29F8BD}"/>
              </a:ext>
            </a:extLst>
          </p:cNvPr>
          <p:cNvSpPr>
            <a:spLocks noGrp="1"/>
          </p:cNvSpPr>
          <p:nvPr>
            <p:ph type="body" sz="quarter" idx="16"/>
          </p:nvPr>
        </p:nvSpPr>
        <p:spPr>
          <a:xfrm>
            <a:off x="544830" y="1955800"/>
            <a:ext cx="4513186" cy="4270248"/>
          </a:xfrm>
        </p:spPr>
        <p:txBody>
          <a:bodyPr/>
          <a:lstStyle/>
          <a:p>
            <a:pPr marL="338455" indent="-342900">
              <a:buFont typeface="+mj-lt"/>
              <a:buAutoNum type="arabicPeriod"/>
            </a:pPr>
            <a:r>
              <a:rPr lang="en-US" dirty="0">
                <a:ea typeface="+mn-lt"/>
                <a:cs typeface="+mn-lt"/>
              </a:rPr>
              <a:t>A wizard that invites employees to complete a quick survey to define their marketplace preferences, such as:</a:t>
            </a:r>
          </a:p>
          <a:p>
            <a:pPr marL="525780" lvl="2" indent="-342900">
              <a:spcAft>
                <a:spcPts val="0"/>
              </a:spcAft>
              <a:buFont typeface="+mj-lt"/>
              <a:buAutoNum type="alphaLcPeriod"/>
            </a:pPr>
            <a:r>
              <a:rPr lang="en-US" sz="1600" dirty="0"/>
              <a:t>Work persona (remote, hybrid, etc.)</a:t>
            </a:r>
          </a:p>
          <a:p>
            <a:pPr marL="525780" lvl="2" indent="-342900">
              <a:spcAft>
                <a:spcPts val="0"/>
              </a:spcAft>
              <a:buFont typeface="+mj-lt"/>
              <a:buAutoNum type="alphaLcPeriod"/>
            </a:pPr>
            <a:r>
              <a:rPr lang="en-US" sz="1600" dirty="0"/>
              <a:t>Travel frequency</a:t>
            </a:r>
          </a:p>
          <a:p>
            <a:pPr marL="525780" lvl="2" indent="-342900">
              <a:spcAft>
                <a:spcPts val="0"/>
              </a:spcAft>
              <a:buFont typeface="+mj-lt"/>
              <a:buAutoNum type="alphaLcPeriod"/>
            </a:pPr>
            <a:r>
              <a:rPr lang="en-US" sz="1600" dirty="0"/>
              <a:t>Job levels</a:t>
            </a:r>
          </a:p>
          <a:p>
            <a:pPr marL="525780" lvl="2" indent="-342900">
              <a:spcAft>
                <a:spcPts val="0"/>
              </a:spcAft>
              <a:buFont typeface="+mj-lt"/>
              <a:buAutoNum type="alphaLcPeriod"/>
            </a:pPr>
            <a:r>
              <a:rPr lang="en-US" sz="1600" dirty="0"/>
              <a:t>Work locations</a:t>
            </a:r>
          </a:p>
          <a:p>
            <a:endParaRPr lang="en-US" dirty="0"/>
          </a:p>
        </p:txBody>
      </p:sp>
      <p:grpSp>
        <p:nvGrpSpPr>
          <p:cNvPr id="7" name="Group 6">
            <a:extLst>
              <a:ext uri="{FF2B5EF4-FFF2-40B4-BE49-F238E27FC236}">
                <a16:creationId xmlns:a16="http://schemas.microsoft.com/office/drawing/2014/main" id="{A91276FC-3D39-64D0-1F51-F961F62788BE}"/>
              </a:ext>
            </a:extLst>
          </p:cNvPr>
          <p:cNvGrpSpPr/>
          <p:nvPr/>
        </p:nvGrpSpPr>
        <p:grpSpPr>
          <a:xfrm>
            <a:off x="6248400" y="1613033"/>
            <a:ext cx="4635500" cy="4613015"/>
            <a:chOff x="6354693" y="1180414"/>
            <a:chExt cx="4986407" cy="5106086"/>
          </a:xfrm>
        </p:grpSpPr>
        <p:grpSp>
          <p:nvGrpSpPr>
            <p:cNvPr id="5" name="Group 4">
              <a:extLst>
                <a:ext uri="{FF2B5EF4-FFF2-40B4-BE49-F238E27FC236}">
                  <a16:creationId xmlns:a16="http://schemas.microsoft.com/office/drawing/2014/main" id="{A41AD4AF-7D36-4DE6-22DF-C2C05BFAC831}"/>
                </a:ext>
              </a:extLst>
            </p:cNvPr>
            <p:cNvGrpSpPr/>
            <p:nvPr/>
          </p:nvGrpSpPr>
          <p:grpSpPr>
            <a:xfrm>
              <a:off x="6354693" y="1180414"/>
              <a:ext cx="4986407" cy="5106086"/>
              <a:chOff x="6354693" y="1180414"/>
              <a:chExt cx="5196840" cy="5503090"/>
            </a:xfrm>
          </p:grpSpPr>
          <p:pic>
            <p:nvPicPr>
              <p:cNvPr id="4" name="Picture 3">
                <a:extLst>
                  <a:ext uri="{FF2B5EF4-FFF2-40B4-BE49-F238E27FC236}">
                    <a16:creationId xmlns:a16="http://schemas.microsoft.com/office/drawing/2014/main" id="{47820265-278B-7A42-CF33-56BDA489DE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54693" y="1180414"/>
                <a:ext cx="5196840" cy="3831791"/>
              </a:xfrm>
              <a:prstGeom prst="rect">
                <a:avLst/>
              </a:prstGeom>
            </p:spPr>
          </p:pic>
          <p:pic>
            <p:nvPicPr>
              <p:cNvPr id="9" name="Picture 8">
                <a:extLst>
                  <a:ext uri="{FF2B5EF4-FFF2-40B4-BE49-F238E27FC236}">
                    <a16:creationId xmlns:a16="http://schemas.microsoft.com/office/drawing/2014/main" id="{1928EFCE-BCFF-A731-75E9-6AF9C16C894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04191" y="3860730"/>
                <a:ext cx="3544618" cy="2822774"/>
              </a:xfrm>
              <a:prstGeom prst="rect">
                <a:avLst/>
              </a:prstGeom>
            </p:spPr>
          </p:pic>
        </p:grpSp>
        <p:sp>
          <p:nvSpPr>
            <p:cNvPr id="6" name="Rectangle 5">
              <a:extLst>
                <a:ext uri="{FF2B5EF4-FFF2-40B4-BE49-F238E27FC236}">
                  <a16:creationId xmlns:a16="http://schemas.microsoft.com/office/drawing/2014/main" id="{A5D5242C-A7AD-9F1C-8EE8-65787E091CB2}"/>
                </a:ext>
              </a:extLst>
            </p:cNvPr>
            <p:cNvSpPr/>
            <p:nvPr/>
          </p:nvSpPr>
          <p:spPr>
            <a:xfrm>
              <a:off x="6462445" y="3030876"/>
              <a:ext cx="4798031" cy="96577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endParaRPr>
            </a:p>
          </p:txBody>
        </p:sp>
      </p:grpSp>
    </p:spTree>
    <p:extLst>
      <p:ext uri="{BB962C8B-B14F-4D97-AF65-F5344CB8AC3E}">
        <p14:creationId xmlns:p14="http://schemas.microsoft.com/office/powerpoint/2010/main" val="223545015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8265E-7C7C-F568-2D6A-6C76F3ED882B}"/>
              </a:ext>
            </a:extLst>
          </p:cNvPr>
          <p:cNvSpPr>
            <a:spLocks noGrp="1"/>
          </p:cNvSpPr>
          <p:nvPr>
            <p:ph type="title"/>
          </p:nvPr>
        </p:nvSpPr>
        <p:spPr/>
        <p:txBody>
          <a:bodyPr/>
          <a:lstStyle/>
          <a:p>
            <a:r>
              <a:rPr lang="en-US" dirty="0"/>
              <a:t>Search available opportunities</a:t>
            </a:r>
          </a:p>
        </p:txBody>
      </p:sp>
      <p:sp>
        <p:nvSpPr>
          <p:cNvPr id="19" name="Subtitle 18">
            <a:extLst>
              <a:ext uri="{FF2B5EF4-FFF2-40B4-BE49-F238E27FC236}">
                <a16:creationId xmlns:a16="http://schemas.microsoft.com/office/drawing/2014/main" id="{7E3CE92C-BD55-B83F-E196-5ACB4E6E4C47}"/>
              </a:ext>
            </a:extLst>
          </p:cNvPr>
          <p:cNvSpPr>
            <a:spLocks noGrp="1"/>
          </p:cNvSpPr>
          <p:nvPr>
            <p:ph type="subTitle" idx="13"/>
          </p:nvPr>
        </p:nvSpPr>
        <p:spPr/>
        <p:txBody>
          <a:bodyPr/>
          <a:lstStyle/>
          <a:p>
            <a:r>
              <a:rPr lang="en-US" b="1" dirty="0">
                <a:solidFill>
                  <a:schemeClr val="accent1"/>
                </a:solidFill>
                <a:latin typeface="Century Gothic" panose="020F0302020204030204"/>
              </a:rPr>
              <a:t>Enhanced opportunity home page that allows employees to search for opportunities of interest to them</a:t>
            </a:r>
          </a:p>
          <a:p>
            <a:endParaRPr lang="en-US" dirty="0"/>
          </a:p>
        </p:txBody>
      </p:sp>
      <p:sp>
        <p:nvSpPr>
          <p:cNvPr id="20" name="Text Placeholder 19">
            <a:extLst>
              <a:ext uri="{FF2B5EF4-FFF2-40B4-BE49-F238E27FC236}">
                <a16:creationId xmlns:a16="http://schemas.microsoft.com/office/drawing/2014/main" id="{E17FCB40-5E7F-AFA7-65F9-033E2A7594D5}"/>
              </a:ext>
            </a:extLst>
          </p:cNvPr>
          <p:cNvSpPr>
            <a:spLocks noGrp="1"/>
          </p:cNvSpPr>
          <p:nvPr>
            <p:ph type="body" sz="quarter" idx="16"/>
          </p:nvPr>
        </p:nvSpPr>
        <p:spPr>
          <a:xfrm>
            <a:off x="544830" y="1955800"/>
            <a:ext cx="4936416" cy="4270248"/>
          </a:xfrm>
        </p:spPr>
        <p:txBody>
          <a:bodyPr/>
          <a:lstStyle/>
          <a:p>
            <a:pPr marL="342900" indent="-342900">
              <a:buFont typeface="+mj-lt"/>
              <a:buAutoNum type="arabicPeriod"/>
            </a:pPr>
            <a:r>
              <a:rPr lang="en-US" sz="1600" dirty="0"/>
              <a:t>Search and display of search results</a:t>
            </a:r>
          </a:p>
          <a:p>
            <a:pPr marL="525780" lvl="1" indent="-342900">
              <a:buFont typeface="+mj-lt"/>
              <a:buAutoNum type="alphaLcPeriod"/>
            </a:pPr>
            <a:r>
              <a:rPr lang="en-US" sz="1400" dirty="0"/>
              <a:t>Includes AI and a basic text search</a:t>
            </a:r>
          </a:p>
          <a:p>
            <a:pPr marL="342900" indent="-342900">
              <a:buFont typeface="+mj-lt"/>
              <a:buAutoNum type="arabicPeriod"/>
            </a:pPr>
            <a:r>
              <a:rPr lang="en-US" sz="1600" dirty="0"/>
              <a:t>Filter results</a:t>
            </a:r>
          </a:p>
          <a:p>
            <a:pPr marL="342900" indent="-342900">
              <a:buFont typeface="+mj-lt"/>
              <a:buAutoNum type="arabicPeriod"/>
            </a:pPr>
            <a:r>
              <a:rPr lang="en-US" sz="1600" dirty="0"/>
              <a:t>Favorite jobs for future reference</a:t>
            </a:r>
          </a:p>
          <a:p>
            <a:pPr marL="342900" indent="-342900">
              <a:buFont typeface="+mj-lt"/>
              <a:buAutoNum type="arabicPeriod"/>
            </a:pPr>
            <a:r>
              <a:rPr lang="en-US" sz="1600" dirty="0"/>
              <a:t>Use the Quick view to ….</a:t>
            </a:r>
          </a:p>
          <a:p>
            <a:pPr marL="342900" indent="-342900">
              <a:buFont typeface="+mj-lt"/>
              <a:buAutoNum type="arabicPeriod"/>
            </a:pPr>
            <a:r>
              <a:rPr lang="en-US" sz="1600" dirty="0">
                <a:ea typeface="+mn-lt"/>
                <a:cs typeface="+mn-lt"/>
              </a:rPr>
              <a:t>System-generated ”Match analysis” compares employee’s skills and preferences with job opportunities</a:t>
            </a:r>
          </a:p>
          <a:p>
            <a:pPr marL="342900" indent="-342900">
              <a:buFont typeface="+mj-lt"/>
              <a:buAutoNum type="arabicPeriod"/>
            </a:pPr>
            <a:r>
              <a:rPr lang="en-US" sz="1600" dirty="0">
                <a:ea typeface="+mn-lt"/>
                <a:cs typeface="+mn-lt"/>
              </a:rPr>
              <a:t>Use the quick action menu on an opportunity card to create an aspiration or to share the opportunity with a peer</a:t>
            </a:r>
            <a:endParaRPr lang="en-US" sz="1600" dirty="0"/>
          </a:p>
          <a:p>
            <a:endParaRPr lang="en-US" sz="1600" dirty="0"/>
          </a:p>
        </p:txBody>
      </p:sp>
      <p:grpSp>
        <p:nvGrpSpPr>
          <p:cNvPr id="3" name="Group 2">
            <a:extLst>
              <a:ext uri="{FF2B5EF4-FFF2-40B4-BE49-F238E27FC236}">
                <a16:creationId xmlns:a16="http://schemas.microsoft.com/office/drawing/2014/main" id="{1326984E-6452-CFAE-E6AA-C865A95C266A}"/>
              </a:ext>
            </a:extLst>
          </p:cNvPr>
          <p:cNvGrpSpPr/>
          <p:nvPr/>
        </p:nvGrpSpPr>
        <p:grpSpPr>
          <a:xfrm>
            <a:off x="6093181" y="1557777"/>
            <a:ext cx="4936416" cy="4769872"/>
            <a:chOff x="6093181" y="1557776"/>
            <a:chExt cx="5189406" cy="5126583"/>
          </a:xfrm>
        </p:grpSpPr>
        <p:pic>
          <p:nvPicPr>
            <p:cNvPr id="5" name="Picture 4">
              <a:extLst>
                <a:ext uri="{FF2B5EF4-FFF2-40B4-BE49-F238E27FC236}">
                  <a16:creationId xmlns:a16="http://schemas.microsoft.com/office/drawing/2014/main" id="{C1F103D0-1277-56F2-E627-201D65B44774}"/>
                </a:ext>
              </a:extLst>
            </p:cNvPr>
            <p:cNvPicPr>
              <a:picLocks noChangeAspect="1"/>
            </p:cNvPicPr>
            <p:nvPr/>
          </p:nvPicPr>
          <p:blipFill>
            <a:blip r:embed="rId3"/>
            <a:stretch>
              <a:fillRect/>
            </a:stretch>
          </p:blipFill>
          <p:spPr>
            <a:xfrm>
              <a:off x="6346171" y="1557776"/>
              <a:ext cx="4936416" cy="5126583"/>
            </a:xfrm>
            <a:prstGeom prst="rect">
              <a:avLst/>
            </a:prstGeom>
          </p:spPr>
        </p:pic>
        <p:sp>
          <p:nvSpPr>
            <p:cNvPr id="11" name="Oval 10">
              <a:extLst>
                <a:ext uri="{FF2B5EF4-FFF2-40B4-BE49-F238E27FC236}">
                  <a16:creationId xmlns:a16="http://schemas.microsoft.com/office/drawing/2014/main" id="{45955EC4-681C-8969-0781-7C5C871EB6B7}"/>
                </a:ext>
              </a:extLst>
            </p:cNvPr>
            <p:cNvSpPr/>
            <p:nvPr/>
          </p:nvSpPr>
          <p:spPr>
            <a:xfrm>
              <a:off x="6093181" y="2509664"/>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lang="en-US" sz="1200" dirty="0">
                  <a:solidFill>
                    <a:schemeClr val="tx1"/>
                  </a:solidFill>
                </a:rPr>
                <a:t>1</a:t>
              </a:r>
              <a:endParaRPr kumimoji="0" lang="en-US" sz="1200" b="0" i="0" u="none" strike="noStrike" kern="1200" cap="none" spc="0" normalizeH="0" baseline="0" noProof="0" dirty="0">
                <a:ln>
                  <a:noFill/>
                </a:ln>
                <a:solidFill>
                  <a:schemeClr val="tx1"/>
                </a:solidFill>
                <a:effectLst/>
                <a:uLnTx/>
                <a:uFillTx/>
                <a:ea typeface="+mn-ea"/>
                <a:cs typeface="+mn-cs"/>
              </a:endParaRPr>
            </a:p>
          </p:txBody>
        </p:sp>
        <p:sp>
          <p:nvSpPr>
            <p:cNvPr id="6" name="Oval 5">
              <a:extLst>
                <a:ext uri="{FF2B5EF4-FFF2-40B4-BE49-F238E27FC236}">
                  <a16:creationId xmlns:a16="http://schemas.microsoft.com/office/drawing/2014/main" id="{852A0620-9DAE-104C-DA08-154DD9406AD8}"/>
                </a:ext>
              </a:extLst>
            </p:cNvPr>
            <p:cNvSpPr/>
            <p:nvPr/>
          </p:nvSpPr>
          <p:spPr>
            <a:xfrm>
              <a:off x="8889193" y="3679663"/>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2</a:t>
              </a:r>
            </a:p>
          </p:txBody>
        </p:sp>
        <p:sp>
          <p:nvSpPr>
            <p:cNvPr id="7" name="Oval 6">
              <a:extLst>
                <a:ext uri="{FF2B5EF4-FFF2-40B4-BE49-F238E27FC236}">
                  <a16:creationId xmlns:a16="http://schemas.microsoft.com/office/drawing/2014/main" id="{F4BAE515-3CC3-77BA-C5F3-C4FE173EFE1D}"/>
                </a:ext>
              </a:extLst>
            </p:cNvPr>
            <p:cNvSpPr/>
            <p:nvPr/>
          </p:nvSpPr>
          <p:spPr>
            <a:xfrm>
              <a:off x="7728841" y="5072388"/>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3</a:t>
              </a:r>
            </a:p>
          </p:txBody>
        </p:sp>
        <p:sp>
          <p:nvSpPr>
            <p:cNvPr id="8" name="Oval 7">
              <a:extLst>
                <a:ext uri="{FF2B5EF4-FFF2-40B4-BE49-F238E27FC236}">
                  <a16:creationId xmlns:a16="http://schemas.microsoft.com/office/drawing/2014/main" id="{E1303178-0041-9ECA-7A7D-77DDCC18331E}"/>
                </a:ext>
              </a:extLst>
            </p:cNvPr>
            <p:cNvSpPr/>
            <p:nvPr/>
          </p:nvSpPr>
          <p:spPr>
            <a:xfrm>
              <a:off x="10542248" y="5231876"/>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lang="en-US" sz="1200" dirty="0">
                  <a:solidFill>
                    <a:schemeClr val="tx1"/>
                  </a:solidFill>
                </a:rPr>
                <a:t>4</a:t>
              </a:r>
              <a:endParaRPr kumimoji="0" lang="en-US" sz="1200" b="0" i="0" u="none" strike="noStrike" kern="1200" cap="none" spc="0" normalizeH="0" baseline="0" noProof="0" dirty="0">
                <a:ln>
                  <a:noFill/>
                </a:ln>
                <a:solidFill>
                  <a:schemeClr val="tx1"/>
                </a:solidFill>
                <a:effectLst/>
                <a:uLnTx/>
                <a:uFillTx/>
                <a:ea typeface="+mn-ea"/>
                <a:cs typeface="+mn-cs"/>
              </a:endParaRPr>
            </a:p>
          </p:txBody>
        </p:sp>
        <p:sp>
          <p:nvSpPr>
            <p:cNvPr id="10" name="Oval 9">
              <a:extLst>
                <a:ext uri="{FF2B5EF4-FFF2-40B4-BE49-F238E27FC236}">
                  <a16:creationId xmlns:a16="http://schemas.microsoft.com/office/drawing/2014/main" id="{E2EE3A2C-29FC-9489-896C-AF2F50B24E1D}"/>
                </a:ext>
              </a:extLst>
            </p:cNvPr>
            <p:cNvSpPr/>
            <p:nvPr/>
          </p:nvSpPr>
          <p:spPr>
            <a:xfrm>
              <a:off x="6346171" y="6273469"/>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5</a:t>
              </a:r>
            </a:p>
          </p:txBody>
        </p:sp>
        <p:sp>
          <p:nvSpPr>
            <p:cNvPr id="12" name="Oval 11">
              <a:extLst>
                <a:ext uri="{FF2B5EF4-FFF2-40B4-BE49-F238E27FC236}">
                  <a16:creationId xmlns:a16="http://schemas.microsoft.com/office/drawing/2014/main" id="{FDC7F74D-12BF-A8ED-C124-76D43E678DB2}"/>
                </a:ext>
              </a:extLst>
            </p:cNvPr>
            <p:cNvSpPr/>
            <p:nvPr/>
          </p:nvSpPr>
          <p:spPr>
            <a:xfrm>
              <a:off x="10701736" y="3779393"/>
              <a:ext cx="318977" cy="3189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6</a:t>
              </a:r>
            </a:p>
          </p:txBody>
        </p:sp>
      </p:grpSp>
      <p:sp>
        <p:nvSpPr>
          <p:cNvPr id="13" name="TextBox 12">
            <a:extLst>
              <a:ext uri="{FF2B5EF4-FFF2-40B4-BE49-F238E27FC236}">
                <a16:creationId xmlns:a16="http://schemas.microsoft.com/office/drawing/2014/main" id="{BD726C39-0B37-AA00-D257-17CCD3A9A499}"/>
              </a:ext>
            </a:extLst>
          </p:cNvPr>
          <p:cNvSpPr txBox="1"/>
          <p:nvPr/>
        </p:nvSpPr>
        <p:spPr>
          <a:xfrm>
            <a:off x="3176337" y="926432"/>
            <a:ext cx="184731" cy="369204"/>
          </a:xfrm>
          <a:prstGeom prst="rect">
            <a:avLst/>
          </a:prstGeom>
          <a:noFill/>
        </p:spPr>
        <p:txBody>
          <a:bodyPr wrap="none" rtlCol="0">
            <a:spAutoFit/>
          </a:bodyPr>
          <a:lstStyle/>
          <a:p>
            <a:pPr algn="l"/>
            <a:endParaRPr lang="en-US" dirty="0"/>
          </a:p>
        </p:txBody>
      </p:sp>
    </p:spTree>
    <p:extLst>
      <p:ext uri="{BB962C8B-B14F-4D97-AF65-F5344CB8AC3E}">
        <p14:creationId xmlns:p14="http://schemas.microsoft.com/office/powerpoint/2010/main" val="261833439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E3CF0-185A-81F8-D88B-ED9BAD7000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150F44-DF4A-D77C-3517-70D6B7056ED1}"/>
              </a:ext>
            </a:extLst>
          </p:cNvPr>
          <p:cNvSpPr>
            <a:spLocks noGrp="1"/>
          </p:cNvSpPr>
          <p:nvPr>
            <p:ph type="title"/>
          </p:nvPr>
        </p:nvSpPr>
        <p:spPr/>
        <p:txBody>
          <a:bodyPr/>
          <a:lstStyle/>
          <a:p>
            <a:r>
              <a:rPr lang="en-US" dirty="0">
                <a:solidFill>
                  <a:schemeClr val="accent1"/>
                </a:solidFill>
              </a:rPr>
              <a:t>Questions?</a:t>
            </a:r>
            <a:endParaRPr lang="en-US" dirty="0"/>
          </a:p>
        </p:txBody>
      </p:sp>
    </p:spTree>
    <p:extLst>
      <p:ext uri="{BB962C8B-B14F-4D97-AF65-F5344CB8AC3E}">
        <p14:creationId xmlns:p14="http://schemas.microsoft.com/office/powerpoint/2010/main" val="68530735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Placeholder 3">
            <a:extLst>
              <a:ext uri="{FF2B5EF4-FFF2-40B4-BE49-F238E27FC236}">
                <a16:creationId xmlns:a16="http://schemas.microsoft.com/office/drawing/2014/main" id="{A7688D3D-EDC0-A370-B0F2-FBBA5BC231B7}"/>
              </a:ext>
              <a:ext uri="{C183D7F6-B498-43B3-948B-1728B52AA6E4}">
                <adec:decorative xmlns:adec="http://schemas.microsoft.com/office/drawing/2017/decorative" val="1"/>
              </a:ext>
            </a:extLst>
          </p:cNvPr>
          <p:cNvGraphicFramePr>
            <a:graphicFrameLocks noGrp="1"/>
          </p:cNvGraphicFramePr>
          <p:nvPr>
            <p:ph type="tbl" sz="quarter" idx="10"/>
            <p:extLst>
              <p:ext uri="{D42A27DB-BD31-4B8C-83A1-F6EECF244321}">
                <p14:modId xmlns:p14="http://schemas.microsoft.com/office/powerpoint/2010/main" val="2367052825"/>
              </p:ext>
            </p:extLst>
          </p:nvPr>
        </p:nvGraphicFramePr>
        <p:xfrm>
          <a:off x="4434028" y="787558"/>
          <a:ext cx="6852296" cy="5168583"/>
        </p:xfrm>
        <a:graphic>
          <a:graphicData uri="http://schemas.openxmlformats.org/drawingml/2006/table">
            <a:tbl>
              <a:tblPr>
                <a:tableStyleId>{9D7B26C5-4107-4FEC-AEDC-1716B250A1EF}</a:tableStyleId>
              </a:tblPr>
              <a:tblGrid>
                <a:gridCol w="2348605">
                  <a:extLst>
                    <a:ext uri="{9D8B030D-6E8A-4147-A177-3AD203B41FA5}">
                      <a16:colId xmlns:a16="http://schemas.microsoft.com/office/drawing/2014/main" val="1351308187"/>
                    </a:ext>
                  </a:extLst>
                </a:gridCol>
                <a:gridCol w="4503691">
                  <a:extLst>
                    <a:ext uri="{9D8B030D-6E8A-4147-A177-3AD203B41FA5}">
                      <a16:colId xmlns:a16="http://schemas.microsoft.com/office/drawing/2014/main" val="3016462665"/>
                    </a:ext>
                  </a:extLst>
                </a:gridCol>
              </a:tblGrid>
              <a:tr h="1722861">
                <a:tc>
                  <a:txBody>
                    <a:bodyPr/>
                    <a:lstStyle/>
                    <a:p>
                      <a:pPr marL="184150" indent="0" algn="l">
                        <a:lnSpc>
                          <a:spcPct val="90000"/>
                        </a:lnSpc>
                        <a:buFontTx/>
                        <a:buNone/>
                        <a:tabLst/>
                      </a:pPr>
                      <a:r>
                        <a:rPr lang="en-US" sz="1800" b="0" i="0" dirty="0">
                          <a:solidFill>
                            <a:srgbClr val="63DF4E"/>
                          </a:solidFill>
                          <a:latin typeface="ServiceNow Sans Medium" panose="020B0704040101010104" pitchFamily="34" charset="0"/>
                          <a:cs typeface="ServiceNow Sans" panose="020B0504040101010104" pitchFamily="34" charset="77"/>
                        </a:rPr>
                        <a:t>Finalize requirements from this workshop</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Complete homework</a:t>
                      </a:r>
                    </a:p>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Close out action items</a:t>
                      </a:r>
                    </a:p>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Schedule follow up workshops or meetings</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95275230"/>
                  </a:ext>
                </a:extLst>
              </a:tr>
              <a:tr h="1722861">
                <a:tc>
                  <a:txBody>
                    <a:bodyPr/>
                    <a:lstStyle/>
                    <a:p>
                      <a:pPr marL="184150" indent="0" algn="l" defTabSz="914400" rtl="0" eaLnBrk="1" latinLnBrk="0" hangingPunct="1">
                        <a:lnSpc>
                          <a:spcPct val="90000"/>
                        </a:lnSpc>
                        <a:buFontTx/>
                        <a:buNone/>
                        <a:tabLst/>
                      </a:pPr>
                      <a:r>
                        <a:rPr lang="en-US" sz="1800" b="0" i="0" kern="1200" dirty="0">
                          <a:solidFill>
                            <a:srgbClr val="63DF4E"/>
                          </a:solidFill>
                          <a:latin typeface="ServiceNow Sans Medium" panose="020B0704040101010104" pitchFamily="34" charset="0"/>
                          <a:ea typeface="+mn-ea"/>
                          <a:cs typeface="ServiceNow Sans" panose="020B0504040101010104" pitchFamily="34" charset="77"/>
                        </a:rPr>
                        <a:t>Create stories</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Write stories with acceptance criteria</a:t>
                      </a:r>
                    </a:p>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Create a backlog</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3498962"/>
                  </a:ext>
                </a:extLst>
              </a:tr>
              <a:tr h="1722861">
                <a:tc>
                  <a:txBody>
                    <a:bodyPr/>
                    <a:lstStyle/>
                    <a:p>
                      <a:pPr marL="230188" indent="0" algn="l" defTabSz="914400" rtl="0" eaLnBrk="1" latinLnBrk="0" hangingPunct="1">
                        <a:lnSpc>
                          <a:spcPct val="90000"/>
                        </a:lnSpc>
                        <a:buFontTx/>
                        <a:buNone/>
                        <a:tabLst/>
                      </a:pPr>
                      <a:r>
                        <a:rPr lang="en-US" sz="1800" b="0" i="0" kern="1200" dirty="0">
                          <a:solidFill>
                            <a:srgbClr val="63DF4E"/>
                          </a:solidFill>
                          <a:latin typeface="ServiceNow Sans Medium" panose="020B0704040101010104" pitchFamily="34" charset="0"/>
                          <a:ea typeface="+mn-ea"/>
                          <a:cs typeface="ServiceNow Sans" panose="020B0504040101010104" pitchFamily="34" charset="77"/>
                        </a:rPr>
                        <a:t>Review &amp; approve stories</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Review stories and provide feedback or adjustments where needed</a:t>
                      </a:r>
                    </a:p>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Approve stories for development</a:t>
                      </a:r>
                    </a:p>
                    <a:p>
                      <a:pPr marL="285750" marR="0" lvl="0" indent="-285750" algn="l" defTabSz="914400" rtl="0" eaLnBrk="1" fontAlgn="auto" latinLnBrk="0" hangingPunct="1">
                        <a:lnSpc>
                          <a:spcPct val="100000"/>
                        </a:lnSpc>
                        <a:spcBef>
                          <a:spcPts val="0"/>
                        </a:spcBef>
                        <a:spcAft>
                          <a:spcPts val="1200"/>
                        </a:spcAft>
                        <a:buClr>
                          <a:schemeClr val="bg1"/>
                        </a:buClr>
                        <a:buSzTx/>
                        <a:buFont typeface="Arial" panose="020B0504040101010104" pitchFamily="34" charset="0"/>
                        <a:buChar char="•"/>
                        <a:tabLst/>
                        <a:defRPr/>
                      </a:pPr>
                      <a:r>
                        <a:rPr lang="en-US" sz="1400" b="0" i="0" dirty="0">
                          <a:solidFill>
                            <a:schemeClr val="bg1"/>
                          </a:solidFill>
                          <a:latin typeface="+mn-lt"/>
                          <a:cs typeface="ServiceNow Sans Light" panose="020B0404040101010104" pitchFamily="34" charset="77"/>
                        </a:rPr>
                        <a:t>Begin configuration!</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43291551"/>
                  </a:ext>
                </a:extLst>
              </a:tr>
            </a:tbl>
          </a:graphicData>
        </a:graphic>
      </p:graphicFrame>
      <p:sp>
        <p:nvSpPr>
          <p:cNvPr id="2" name="Title 1">
            <a:extLst>
              <a:ext uri="{FF2B5EF4-FFF2-40B4-BE49-F238E27FC236}">
                <a16:creationId xmlns:a16="http://schemas.microsoft.com/office/drawing/2014/main" id="{4AA7F34A-2488-847F-7F1E-326716A56852}"/>
              </a:ext>
            </a:extLst>
          </p:cNvPr>
          <p:cNvSpPr>
            <a:spLocks noGrp="1"/>
          </p:cNvSpPr>
          <p:nvPr>
            <p:ph type="title"/>
          </p:nvPr>
        </p:nvSpPr>
        <p:spPr>
          <a:xfrm>
            <a:off x="548640" y="1230923"/>
            <a:ext cx="3401191" cy="2140927"/>
          </a:xfrm>
        </p:spPr>
        <p:txBody>
          <a:bodyPr/>
          <a:lstStyle/>
          <a:p>
            <a:r>
              <a:rPr lang="en-US" dirty="0"/>
              <a:t>Next Steps</a:t>
            </a:r>
          </a:p>
        </p:txBody>
      </p:sp>
    </p:spTree>
    <p:extLst>
      <p:ext uri="{BB962C8B-B14F-4D97-AF65-F5344CB8AC3E}">
        <p14:creationId xmlns:p14="http://schemas.microsoft.com/office/powerpoint/2010/main" val="302217569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F1BF2-231B-230C-918B-F222D91408D1}"/>
            </a:ext>
          </a:extLst>
        </p:cNvPr>
        <p:cNvGrpSpPr/>
        <p:nvPr/>
      </p:nvGrpSpPr>
      <p:grpSpPr>
        <a:xfrm>
          <a:off x="0" y="0"/>
          <a:ext cx="0" cy="0"/>
          <a:chOff x="0" y="0"/>
          <a:chExt cx="0" cy="0"/>
        </a:xfrm>
      </p:grpSpPr>
      <p:sp>
        <p:nvSpPr>
          <p:cNvPr id="27" name="Title 4">
            <a:extLst>
              <a:ext uri="{FF2B5EF4-FFF2-40B4-BE49-F238E27FC236}">
                <a16:creationId xmlns:a16="http://schemas.microsoft.com/office/drawing/2014/main" id="{B361524D-3CAE-B227-8077-81FE14BA4723}"/>
              </a:ext>
            </a:extLst>
          </p:cNvPr>
          <p:cNvSpPr>
            <a:spLocks noGrp="1"/>
          </p:cNvSpPr>
          <p:nvPr>
            <p:ph type="title"/>
          </p:nvPr>
        </p:nvSpPr>
        <p:spPr>
          <a:xfrm>
            <a:off x="548640" y="829214"/>
            <a:ext cx="8273098" cy="4008752"/>
          </a:xfrm>
        </p:spPr>
        <p:txBody>
          <a:bodyPr/>
          <a:lstStyle/>
          <a:p>
            <a:r>
              <a:rPr lang="en-US" dirty="0"/>
              <a:t>Thank you</a:t>
            </a:r>
          </a:p>
        </p:txBody>
      </p:sp>
    </p:spTree>
    <p:extLst>
      <p:ext uri="{BB962C8B-B14F-4D97-AF65-F5344CB8AC3E}">
        <p14:creationId xmlns:p14="http://schemas.microsoft.com/office/powerpoint/2010/main" val="14186182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3875F-1D33-8D22-7084-7D234F3B493A}"/>
            </a:ext>
          </a:extLst>
        </p:cNvPr>
        <p:cNvGrpSpPr/>
        <p:nvPr/>
      </p:nvGrpSpPr>
      <p:grpSpPr>
        <a:xfrm>
          <a:off x="0" y="0"/>
          <a:ext cx="0" cy="0"/>
          <a:chOff x="0" y="0"/>
          <a:chExt cx="0" cy="0"/>
        </a:xfrm>
      </p:grpSpPr>
    </p:spTree>
    <p:extLst>
      <p:ext uri="{BB962C8B-B14F-4D97-AF65-F5344CB8AC3E}">
        <p14:creationId xmlns:p14="http://schemas.microsoft.com/office/powerpoint/2010/main" val="12052069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B8E53C-33D3-D231-93CC-23FF1766964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390FC6C-3349-1854-19E1-8472C2662FF4}"/>
              </a:ext>
            </a:extLst>
          </p:cNvPr>
          <p:cNvSpPr>
            <a:spLocks noGrp="1"/>
          </p:cNvSpPr>
          <p:nvPr>
            <p:ph type="title"/>
          </p:nvPr>
        </p:nvSpPr>
        <p:spPr>
          <a:xfrm>
            <a:off x="548640" y="530352"/>
            <a:ext cx="11082973" cy="1304863"/>
          </a:xfrm>
        </p:spPr>
        <p:txBody>
          <a:bodyPr/>
          <a:lstStyle/>
          <a:p>
            <a:r>
              <a:rPr lang="en-US" dirty="0"/>
              <a:t>Partner resources</a:t>
            </a:r>
          </a:p>
        </p:txBody>
      </p:sp>
      <p:sp>
        <p:nvSpPr>
          <p:cNvPr id="2" name="Rectangle 1">
            <a:extLst>
              <a:ext uri="{FF2B5EF4-FFF2-40B4-BE49-F238E27FC236}">
                <a16:creationId xmlns:a16="http://schemas.microsoft.com/office/drawing/2014/main" id="{B139F79C-D8C5-5F01-96D6-92314B374C6B}"/>
              </a:ext>
            </a:extLst>
          </p:cNvPr>
          <p:cNvSpPr/>
          <p:nvPr/>
        </p:nvSpPr>
        <p:spPr>
          <a:xfrm>
            <a:off x="559138" y="2486232"/>
            <a:ext cx="11188711" cy="363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6903" rtl="0" eaLnBrk="1" fontAlgn="auto" latinLnBrk="0" hangingPunct="1">
              <a:lnSpc>
                <a:spcPct val="9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FFFFFF"/>
              </a:solidFill>
              <a:effectLst/>
              <a:uLnTx/>
              <a:uFillTx/>
              <a:latin typeface="ServiceNow Sans" panose="020B0504040101010104" pitchFamily="34" charset="77"/>
            </a:endParaRPr>
          </a:p>
        </p:txBody>
      </p:sp>
      <p:sp>
        <p:nvSpPr>
          <p:cNvPr id="3" name="TextBox 2">
            <a:extLst>
              <a:ext uri="{FF2B5EF4-FFF2-40B4-BE49-F238E27FC236}">
                <a16:creationId xmlns:a16="http://schemas.microsoft.com/office/drawing/2014/main" id="{66F368A5-20B3-6D29-DE05-CC28CF122150}"/>
              </a:ext>
            </a:extLst>
          </p:cNvPr>
          <p:cNvSpPr txBox="1"/>
          <p:nvPr/>
        </p:nvSpPr>
        <p:spPr>
          <a:xfrm>
            <a:off x="557212" y="2532224"/>
            <a:ext cx="2226845" cy="286157"/>
          </a:xfrm>
          <a:prstGeom prst="rect">
            <a:avLst/>
          </a:prstGeom>
          <a:noFill/>
          <a:ln>
            <a:noFill/>
          </a:ln>
        </p:spPr>
        <p:txBody>
          <a:bodyPr wrap="square" rtlCol="0" anchor="ctr">
            <a:spAutoFit/>
          </a:bodyPr>
          <a:lstStyle/>
          <a:p>
            <a:pPr marL="0" marR="0" lvl="0" indent="0" algn="ctr" defTabSz="456903" rtl="0" eaLnBrk="1" fontAlgn="auto" latinLnBrk="0" hangingPunct="1">
              <a:lnSpc>
                <a:spcPct val="90000"/>
              </a:lnSpc>
              <a:spcBef>
                <a:spcPts val="600"/>
              </a:spcBef>
              <a:spcAft>
                <a:spcPts val="0"/>
              </a:spcAft>
              <a:buClrTx/>
              <a:buSzTx/>
              <a:buFontTx/>
              <a:buNone/>
              <a:tabLst/>
              <a:defRPr/>
            </a:pPr>
            <a:r>
              <a:rPr kumimoji="0" lang="en-US" sz="1400" b="1" i="0" u="none" strike="noStrike" kern="1200" cap="none" spc="0" normalizeH="0" baseline="0" noProof="0" dirty="0">
                <a:ln>
                  <a:noFill/>
                </a:ln>
                <a:effectLst/>
                <a:uLnTx/>
                <a:uFillTx/>
                <a:latin typeface="ServiceNow Sans" panose="020B0504040101010104" pitchFamily="34" charset="77"/>
              </a:rPr>
              <a:t>Now Create</a:t>
            </a:r>
          </a:p>
        </p:txBody>
      </p:sp>
      <p:sp>
        <p:nvSpPr>
          <p:cNvPr id="6" name="TextBox 5">
            <a:extLst>
              <a:ext uri="{FF2B5EF4-FFF2-40B4-BE49-F238E27FC236}">
                <a16:creationId xmlns:a16="http://schemas.microsoft.com/office/drawing/2014/main" id="{BA728E87-E91F-6E7F-6EA5-A2D513660077}"/>
              </a:ext>
            </a:extLst>
          </p:cNvPr>
          <p:cNvSpPr txBox="1"/>
          <p:nvPr/>
        </p:nvSpPr>
        <p:spPr>
          <a:xfrm>
            <a:off x="2787909" y="2532224"/>
            <a:ext cx="2219139" cy="286232"/>
          </a:xfrm>
          <a:prstGeom prst="rect">
            <a:avLst/>
          </a:prstGeom>
          <a:noFill/>
          <a:ln>
            <a:noFill/>
          </a:ln>
        </p:spPr>
        <p:txBody>
          <a:bodyPr wrap="square" rtlCol="0" anchor="ctr">
            <a:spAutoFit/>
          </a:bodyPr>
          <a:lstStyle/>
          <a:p>
            <a:pPr marL="0" marR="0" lvl="0" indent="0" algn="ctr" defTabSz="456903" rtl="0" eaLnBrk="1" fontAlgn="auto" latinLnBrk="0" hangingPunct="1">
              <a:lnSpc>
                <a:spcPct val="90000"/>
              </a:lnSpc>
              <a:spcBef>
                <a:spcPts val="600"/>
              </a:spcBef>
              <a:spcAft>
                <a:spcPts val="0"/>
              </a:spcAft>
              <a:buClrTx/>
              <a:buSzTx/>
              <a:buFontTx/>
              <a:buNone/>
              <a:tabLst/>
              <a:defRPr/>
            </a:pPr>
            <a:r>
              <a:rPr kumimoji="0" lang="en-US" sz="1400" b="1" i="0" u="none" strike="noStrike" kern="1200" cap="none" spc="0" normalizeH="0" baseline="0" noProof="0" dirty="0">
                <a:ln>
                  <a:noFill/>
                </a:ln>
                <a:effectLst/>
                <a:uLnTx/>
                <a:uFillTx/>
                <a:latin typeface="ServiceNow Sans" panose="020B0504040101010104" pitchFamily="34" charset="77"/>
              </a:rPr>
              <a:t>Product Docs</a:t>
            </a:r>
          </a:p>
        </p:txBody>
      </p:sp>
      <p:sp>
        <p:nvSpPr>
          <p:cNvPr id="7" name="TextBox 6">
            <a:extLst>
              <a:ext uri="{FF2B5EF4-FFF2-40B4-BE49-F238E27FC236}">
                <a16:creationId xmlns:a16="http://schemas.microsoft.com/office/drawing/2014/main" id="{0CFF483B-A834-EE92-E647-2BB066B01A5C}"/>
              </a:ext>
            </a:extLst>
          </p:cNvPr>
          <p:cNvSpPr txBox="1"/>
          <p:nvPr/>
        </p:nvSpPr>
        <p:spPr>
          <a:xfrm>
            <a:off x="5046422" y="2532224"/>
            <a:ext cx="2183618" cy="286232"/>
          </a:xfrm>
          <a:prstGeom prst="rect">
            <a:avLst/>
          </a:prstGeom>
          <a:noFill/>
          <a:ln>
            <a:noFill/>
          </a:ln>
        </p:spPr>
        <p:txBody>
          <a:bodyPr wrap="square" rtlCol="0" anchor="ctr">
            <a:spAutoFit/>
          </a:bodyPr>
          <a:lstStyle/>
          <a:p>
            <a:pPr marL="0" marR="0" lvl="0" indent="0" algn="ctr" defTabSz="456903" rtl="0" eaLnBrk="1" fontAlgn="auto" latinLnBrk="0" hangingPunct="1">
              <a:lnSpc>
                <a:spcPct val="90000"/>
              </a:lnSpc>
              <a:spcBef>
                <a:spcPts val="600"/>
              </a:spcBef>
              <a:spcAft>
                <a:spcPts val="0"/>
              </a:spcAft>
              <a:buClrTx/>
              <a:buSzTx/>
              <a:buFontTx/>
              <a:buNone/>
              <a:tabLst/>
              <a:defRPr/>
            </a:pPr>
            <a:r>
              <a:rPr kumimoji="0" lang="en-US" sz="1400" b="1" i="0" u="none" strike="noStrike" kern="1200" cap="none" spc="0" normalizeH="0" baseline="0" noProof="0" dirty="0">
                <a:ln>
                  <a:noFill/>
                </a:ln>
                <a:effectLst/>
                <a:uLnTx/>
                <a:uFillTx/>
                <a:latin typeface="ServiceNow Sans" panose="020B0504040101010104" pitchFamily="34" charset="77"/>
              </a:rPr>
              <a:t>Now Learning</a:t>
            </a:r>
          </a:p>
        </p:txBody>
      </p:sp>
      <p:sp>
        <p:nvSpPr>
          <p:cNvPr id="8" name="TextBox 7">
            <a:extLst>
              <a:ext uri="{FF2B5EF4-FFF2-40B4-BE49-F238E27FC236}">
                <a16:creationId xmlns:a16="http://schemas.microsoft.com/office/drawing/2014/main" id="{F76FF67D-D4BA-4562-71D0-DC0DA2FFA8D5}"/>
              </a:ext>
            </a:extLst>
          </p:cNvPr>
          <p:cNvSpPr txBox="1"/>
          <p:nvPr/>
        </p:nvSpPr>
        <p:spPr>
          <a:xfrm>
            <a:off x="7230040" y="2532224"/>
            <a:ext cx="2242458" cy="286232"/>
          </a:xfrm>
          <a:prstGeom prst="rect">
            <a:avLst/>
          </a:prstGeom>
          <a:noFill/>
          <a:ln>
            <a:noFill/>
          </a:ln>
        </p:spPr>
        <p:txBody>
          <a:bodyPr wrap="square" rtlCol="0" anchor="ctr">
            <a:spAutoFit/>
          </a:bodyPr>
          <a:lstStyle/>
          <a:p>
            <a:pPr marL="0" marR="0" lvl="0" indent="0" algn="ctr" defTabSz="456903" rtl="0" eaLnBrk="1" fontAlgn="auto" latinLnBrk="0" hangingPunct="1">
              <a:lnSpc>
                <a:spcPct val="90000"/>
              </a:lnSpc>
              <a:spcBef>
                <a:spcPts val="600"/>
              </a:spcBef>
              <a:spcAft>
                <a:spcPts val="0"/>
              </a:spcAft>
              <a:buClrTx/>
              <a:buSzTx/>
              <a:buFontTx/>
              <a:buNone/>
              <a:tabLst/>
              <a:defRPr/>
            </a:pPr>
            <a:r>
              <a:rPr kumimoji="0" lang="en-US" sz="1400" b="1" i="0" u="none" strike="noStrike" kern="1200" cap="none" spc="0" normalizeH="0" baseline="0" noProof="0" dirty="0">
                <a:ln>
                  <a:noFill/>
                </a:ln>
                <a:effectLst/>
                <a:uLnTx/>
                <a:uFillTx/>
                <a:latin typeface="ServiceNow Sans" panose="020B0504040101010104" pitchFamily="34" charset="77"/>
              </a:rPr>
              <a:t>Partner Success Center</a:t>
            </a:r>
          </a:p>
        </p:txBody>
      </p:sp>
      <p:sp>
        <p:nvSpPr>
          <p:cNvPr id="9" name="TextBox 8">
            <a:extLst>
              <a:ext uri="{FF2B5EF4-FFF2-40B4-BE49-F238E27FC236}">
                <a16:creationId xmlns:a16="http://schemas.microsoft.com/office/drawing/2014/main" id="{45FAA8C8-0C4E-D9BE-55EF-4DACE044FBAC}"/>
              </a:ext>
            </a:extLst>
          </p:cNvPr>
          <p:cNvSpPr txBox="1"/>
          <p:nvPr/>
        </p:nvSpPr>
        <p:spPr>
          <a:xfrm>
            <a:off x="9456886" y="2532224"/>
            <a:ext cx="2238605" cy="286232"/>
          </a:xfrm>
          <a:prstGeom prst="rect">
            <a:avLst/>
          </a:prstGeom>
          <a:noFill/>
          <a:ln>
            <a:noFill/>
          </a:ln>
        </p:spPr>
        <p:txBody>
          <a:bodyPr wrap="square" rtlCol="0" anchor="ctr">
            <a:spAutoFit/>
          </a:bodyPr>
          <a:lstStyle/>
          <a:p>
            <a:pPr marL="0" marR="0" lvl="0" indent="0" algn="ctr" defTabSz="456903" rtl="0" eaLnBrk="1" fontAlgn="auto" latinLnBrk="0" hangingPunct="1">
              <a:lnSpc>
                <a:spcPct val="90000"/>
              </a:lnSpc>
              <a:spcBef>
                <a:spcPts val="600"/>
              </a:spcBef>
              <a:spcAft>
                <a:spcPts val="0"/>
              </a:spcAft>
              <a:buClrTx/>
              <a:buSzTx/>
              <a:buFontTx/>
              <a:buNone/>
              <a:tabLst/>
              <a:defRPr/>
            </a:pPr>
            <a:r>
              <a:rPr kumimoji="0" lang="en-US" sz="1400" b="1" i="0" u="none" strike="noStrike" kern="1200" cap="none" spc="0" normalizeH="0" baseline="0" noProof="0" dirty="0">
                <a:ln>
                  <a:noFill/>
                </a:ln>
                <a:effectLst/>
                <a:uLnTx/>
                <a:uFillTx/>
                <a:latin typeface="ServiceNow Sans" panose="020B0504040101010104" pitchFamily="34" charset="77"/>
              </a:rPr>
              <a:t>DemoHub</a:t>
            </a:r>
          </a:p>
        </p:txBody>
      </p:sp>
      <p:sp>
        <p:nvSpPr>
          <p:cNvPr id="10" name="TextBox 9">
            <a:extLst>
              <a:ext uri="{FF2B5EF4-FFF2-40B4-BE49-F238E27FC236}">
                <a16:creationId xmlns:a16="http://schemas.microsoft.com/office/drawing/2014/main" id="{4A5220AB-8D55-F6A8-D751-6A1A3050DCBA}"/>
              </a:ext>
            </a:extLst>
          </p:cNvPr>
          <p:cNvSpPr txBox="1"/>
          <p:nvPr/>
        </p:nvSpPr>
        <p:spPr>
          <a:xfrm>
            <a:off x="669755" y="3022945"/>
            <a:ext cx="1930202" cy="2893100"/>
          </a:xfrm>
          <a:prstGeom prst="rect">
            <a:avLst/>
          </a:prstGeom>
          <a:noFill/>
        </p:spPr>
        <p:txBody>
          <a:bodyPr wrap="square" rtlCol="0">
            <a:spAutoFit/>
          </a:bodyPr>
          <a:lstStyle/>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rviceNow Sans" panose="020B0504040101010104" pitchFamily="34" charset="77"/>
              </a:rPr>
              <a:t>Find workshop decks, workbooks, and other documents with step-by-step delivery guidance based on leading practices. </a:t>
            </a: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4"/>
              </a:rPr>
              <a:t>Access Best Practices </a:t>
            </a:r>
            <a:r>
              <a:rPr lang="en-US" sz="1400" b="1" dirty="0">
                <a:solidFill>
                  <a:srgbClr val="293E40"/>
                </a:solidFill>
                <a:latin typeface="ServiceNow Sans" panose="020B0504040101010104" pitchFamily="34" charset="77"/>
                <a:hlinkClick r:id="rId4"/>
              </a:rPr>
              <a:t>P</a:t>
            </a: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4"/>
              </a:rPr>
              <a:t>ortal</a:t>
            </a:r>
            <a:r>
              <a:rPr kumimoji="0" lang="en-US" sz="1400" b="1" i="0" u="none" strike="noStrike" kern="1200" cap="none" spc="0" normalizeH="0" baseline="0" noProof="0">
                <a:ln>
                  <a:noFill/>
                </a:ln>
                <a:solidFill>
                  <a:srgbClr val="293E40"/>
                </a:solidFill>
                <a:effectLst/>
                <a:uLnTx/>
                <a:uFillTx/>
                <a:latin typeface="ServiceNow Sans" panose="020B0504040101010104" pitchFamily="34" charset="77"/>
                <a:hlinkClick r:id="rId4"/>
              </a:rPr>
              <a:t> Here</a:t>
            </a:r>
            <a:endParaRPr kumimoji="0" lang="en-US" sz="1400" b="1" i="0" u="none" strike="noStrike" kern="1200" cap="none" spc="0" normalizeH="0" baseline="0" noProof="0">
              <a:ln>
                <a:noFill/>
              </a:ln>
              <a:solidFill>
                <a:srgbClr val="293E40"/>
              </a:solidFill>
              <a:effectLst/>
              <a:uLnTx/>
              <a:uFillTx/>
              <a:latin typeface="ServiceNow Sans" panose="020B0504040101010104" pitchFamily="34" charset="77"/>
            </a:endParaRPr>
          </a:p>
        </p:txBody>
      </p:sp>
      <p:sp>
        <p:nvSpPr>
          <p:cNvPr id="11" name="TextBox 10">
            <a:extLst>
              <a:ext uri="{FF2B5EF4-FFF2-40B4-BE49-F238E27FC236}">
                <a16:creationId xmlns:a16="http://schemas.microsoft.com/office/drawing/2014/main" id="{1BF13644-832B-C193-B2F6-F72E281F5597}"/>
              </a:ext>
            </a:extLst>
          </p:cNvPr>
          <p:cNvSpPr txBox="1"/>
          <p:nvPr/>
        </p:nvSpPr>
        <p:spPr>
          <a:xfrm>
            <a:off x="2895211" y="3022945"/>
            <a:ext cx="1932979" cy="2677656"/>
          </a:xfrm>
          <a:prstGeom prst="rect">
            <a:avLst/>
          </a:prstGeom>
          <a:noFill/>
        </p:spPr>
        <p:txBody>
          <a:bodyPr wrap="square" rtlCol="0">
            <a:spAutoFit/>
          </a:bodyPr>
          <a:lstStyle/>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rviceNow Sans" panose="020B0504040101010104" pitchFamily="34" charset="77"/>
              </a:rPr>
              <a:t>Use the ServiceNow Product Documentation site for solution details and step-by-step configuration guidance .</a:t>
            </a: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5"/>
              </a:rPr>
              <a:t>Access Product Docs Here</a:t>
            </a:r>
            <a:endPar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endParaRPr>
          </a:p>
        </p:txBody>
      </p:sp>
      <p:sp>
        <p:nvSpPr>
          <p:cNvPr id="12" name="TextBox 11">
            <a:extLst>
              <a:ext uri="{FF2B5EF4-FFF2-40B4-BE49-F238E27FC236}">
                <a16:creationId xmlns:a16="http://schemas.microsoft.com/office/drawing/2014/main" id="{A1787462-B08A-75D9-23CC-48B0C03E8176}"/>
              </a:ext>
            </a:extLst>
          </p:cNvPr>
          <p:cNvSpPr txBox="1"/>
          <p:nvPr/>
        </p:nvSpPr>
        <p:spPr>
          <a:xfrm>
            <a:off x="5135964" y="3022945"/>
            <a:ext cx="1932979" cy="2893100"/>
          </a:xfrm>
          <a:prstGeom prst="rect">
            <a:avLst/>
          </a:prstGeom>
          <a:noFill/>
        </p:spPr>
        <p:txBody>
          <a:bodyPr wrap="square" rtlCol="0">
            <a:spAutoFit/>
          </a:bodyPr>
          <a:lstStyle/>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rviceNow Sans" panose="020B0504040101010104" pitchFamily="34" charset="77"/>
              </a:rPr>
              <a:t>Visit Now Learning to take interactive trainings and learn more about the configuration of each product .</a:t>
            </a: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lang="en-US" sz="1400" dirty="0">
              <a:solidFill>
                <a:srgbClr val="293E40"/>
              </a:solidFill>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6"/>
              </a:rPr>
              <a:t>Access Now Learning Here</a:t>
            </a:r>
            <a:endPar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p:txBody>
      </p:sp>
      <p:sp>
        <p:nvSpPr>
          <p:cNvPr id="13" name="TextBox 12">
            <a:extLst>
              <a:ext uri="{FF2B5EF4-FFF2-40B4-BE49-F238E27FC236}">
                <a16:creationId xmlns:a16="http://schemas.microsoft.com/office/drawing/2014/main" id="{A0877953-E27A-E525-6306-E3E7FD2AA11E}"/>
              </a:ext>
            </a:extLst>
          </p:cNvPr>
          <p:cNvSpPr txBox="1"/>
          <p:nvPr/>
        </p:nvSpPr>
        <p:spPr>
          <a:xfrm>
            <a:off x="7349002" y="3022945"/>
            <a:ext cx="1932979" cy="2893100"/>
          </a:xfrm>
          <a:prstGeom prst="rect">
            <a:avLst/>
          </a:prstGeom>
          <a:noFill/>
        </p:spPr>
        <p:txBody>
          <a:bodyPr wrap="square" rtlCol="0">
            <a:spAutoFit/>
          </a:bodyPr>
          <a:lstStyle/>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rviceNow Sans" panose="020B0504040101010104" pitchFamily="34" charset="77"/>
              </a:rPr>
              <a:t>Bookmark the Partner Success Center for regular access to customer stories, first - call decks, industry insights, and more.</a:t>
            </a: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lang="en-US" sz="1400" dirty="0">
              <a:solidFill>
                <a:srgbClr val="293E40"/>
              </a:solidFill>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7"/>
              </a:rPr>
              <a:t>Access Partner Success Center Here</a:t>
            </a:r>
            <a:endPar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endParaRPr>
          </a:p>
        </p:txBody>
      </p:sp>
      <p:sp>
        <p:nvSpPr>
          <p:cNvPr id="14" name="TextBox 13">
            <a:extLst>
              <a:ext uri="{FF2B5EF4-FFF2-40B4-BE49-F238E27FC236}">
                <a16:creationId xmlns:a16="http://schemas.microsoft.com/office/drawing/2014/main" id="{685A6CEF-0208-91C8-E724-1072B035402D}"/>
              </a:ext>
            </a:extLst>
          </p:cNvPr>
          <p:cNvSpPr txBox="1"/>
          <p:nvPr/>
        </p:nvSpPr>
        <p:spPr>
          <a:xfrm>
            <a:off x="9577704" y="3022945"/>
            <a:ext cx="1996969" cy="2677656"/>
          </a:xfrm>
          <a:prstGeom prst="rect">
            <a:avLst/>
          </a:prstGeom>
          <a:noFill/>
        </p:spPr>
        <p:txBody>
          <a:bodyPr wrap="square" rtlCol="0">
            <a:spAutoFit/>
          </a:bodyPr>
          <a:lstStyle/>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rviceNow Sans" panose="020B0504040101010104" pitchFamily="34" charset="77"/>
              </a:rPr>
              <a:t>Prepare for interactive product demos using DemoHub narratives.</a:t>
            </a: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lang="en-US" sz="1400" dirty="0">
              <a:solidFill>
                <a:srgbClr val="293E40"/>
              </a:solidFill>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3E40"/>
              </a:solidFill>
              <a:effectLst/>
              <a:uLnTx/>
              <a:uFillTx/>
              <a:latin typeface="ServiceNow Sans" panose="020B0504040101010104" pitchFamily="34" charset="77"/>
            </a:endParaRPr>
          </a:p>
          <a:p>
            <a:pPr marL="0" marR="0" lvl="0" indent="0" defTabSz="4569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8"/>
            </a:endParaRPr>
          </a:p>
          <a:p>
            <a:pPr marL="0" marR="0" lvl="0" indent="0" defTabSz="4569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8"/>
              </a:rPr>
              <a:t>Access DemoHub</a:t>
            </a:r>
            <a:r>
              <a:rPr lang="en-US" sz="1400" b="1" dirty="0">
                <a:solidFill>
                  <a:srgbClr val="293E40"/>
                </a:solidFill>
                <a:latin typeface="ServiceNow Sans" panose="020B0504040101010104" pitchFamily="34" charset="77"/>
                <a:hlinkClick r:id="rId8"/>
              </a:rPr>
              <a:t> </a:t>
            </a:r>
            <a:r>
              <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hlinkClick r:id="rId8"/>
              </a:rPr>
              <a:t>Here</a:t>
            </a:r>
            <a:endParaRPr kumimoji="0" lang="en-US" sz="1400" b="1" i="0" u="none" strike="noStrike" kern="1200" cap="none" spc="0" normalizeH="0" baseline="0" noProof="0" dirty="0">
              <a:ln>
                <a:noFill/>
              </a:ln>
              <a:solidFill>
                <a:srgbClr val="293E40"/>
              </a:solidFill>
              <a:effectLst/>
              <a:uLnTx/>
              <a:uFillTx/>
              <a:latin typeface="ServiceNow Sans" panose="020B0504040101010104" pitchFamily="34" charset="77"/>
            </a:endParaRPr>
          </a:p>
        </p:txBody>
      </p:sp>
      <p:grpSp>
        <p:nvGrpSpPr>
          <p:cNvPr id="15" name="Graphic 125">
            <a:extLst>
              <a:ext uri="{FF2B5EF4-FFF2-40B4-BE49-F238E27FC236}">
                <a16:creationId xmlns:a16="http://schemas.microsoft.com/office/drawing/2014/main" id="{14787C19-AF8D-EF62-5760-724E64B5B1F5}"/>
              </a:ext>
            </a:extLst>
          </p:cNvPr>
          <p:cNvGrpSpPr>
            <a:grpSpLocks noChangeAspect="1"/>
          </p:cNvGrpSpPr>
          <p:nvPr/>
        </p:nvGrpSpPr>
        <p:grpSpPr>
          <a:xfrm>
            <a:off x="5743889" y="1617183"/>
            <a:ext cx="819208" cy="715183"/>
            <a:chOff x="-4331070" y="2947564"/>
            <a:chExt cx="545522" cy="476250"/>
          </a:xfrm>
          <a:solidFill>
            <a:schemeClr val="bg1"/>
          </a:solidFill>
        </p:grpSpPr>
        <p:sp>
          <p:nvSpPr>
            <p:cNvPr id="16" name="Freeform: Shape 4">
              <a:extLst>
                <a:ext uri="{FF2B5EF4-FFF2-40B4-BE49-F238E27FC236}">
                  <a16:creationId xmlns:a16="http://schemas.microsoft.com/office/drawing/2014/main" id="{A45E90F9-9D41-C7C8-FC4A-51375B5A4039}"/>
                </a:ext>
              </a:extLst>
            </p:cNvPr>
            <p:cNvSpPr/>
            <p:nvPr/>
          </p:nvSpPr>
          <p:spPr>
            <a:xfrm>
              <a:off x="-4331070" y="2947564"/>
              <a:ext cx="545522" cy="476250"/>
            </a:xfrm>
            <a:custGeom>
              <a:avLst/>
              <a:gdLst>
                <a:gd name="connsiteX0" fmla="*/ 497898 w 545522"/>
                <a:gd name="connsiteY0" fmla="*/ 0 h 476250"/>
                <a:gd name="connsiteX1" fmla="*/ 47625 w 545522"/>
                <a:gd name="connsiteY1" fmla="*/ 0 h 476250"/>
                <a:gd name="connsiteX2" fmla="*/ 0 w 545522"/>
                <a:gd name="connsiteY2" fmla="*/ 47625 h 476250"/>
                <a:gd name="connsiteX3" fmla="*/ 0 w 545522"/>
                <a:gd name="connsiteY3" fmla="*/ 324716 h 476250"/>
                <a:gd name="connsiteX4" fmla="*/ 47625 w 545522"/>
                <a:gd name="connsiteY4" fmla="*/ 372341 h 476250"/>
                <a:gd name="connsiteX5" fmla="*/ 207818 w 545522"/>
                <a:gd name="connsiteY5" fmla="*/ 372341 h 476250"/>
                <a:gd name="connsiteX6" fmla="*/ 207818 w 545522"/>
                <a:gd name="connsiteY6" fmla="*/ 393989 h 476250"/>
                <a:gd name="connsiteX7" fmla="*/ 151534 w 545522"/>
                <a:gd name="connsiteY7" fmla="*/ 450273 h 476250"/>
                <a:gd name="connsiteX8" fmla="*/ 138545 w 545522"/>
                <a:gd name="connsiteY8" fmla="*/ 463261 h 476250"/>
                <a:gd name="connsiteX9" fmla="*/ 151534 w 545522"/>
                <a:gd name="connsiteY9" fmla="*/ 476250 h 476250"/>
                <a:gd name="connsiteX10" fmla="*/ 393989 w 545522"/>
                <a:gd name="connsiteY10" fmla="*/ 476250 h 476250"/>
                <a:gd name="connsiteX11" fmla="*/ 406977 w 545522"/>
                <a:gd name="connsiteY11" fmla="*/ 463261 h 476250"/>
                <a:gd name="connsiteX12" fmla="*/ 393989 w 545522"/>
                <a:gd name="connsiteY12" fmla="*/ 450273 h 476250"/>
                <a:gd name="connsiteX13" fmla="*/ 337705 w 545522"/>
                <a:gd name="connsiteY13" fmla="*/ 393989 h 476250"/>
                <a:gd name="connsiteX14" fmla="*/ 337705 w 545522"/>
                <a:gd name="connsiteY14" fmla="*/ 372341 h 476250"/>
                <a:gd name="connsiteX15" fmla="*/ 497898 w 545522"/>
                <a:gd name="connsiteY15" fmla="*/ 372341 h 476250"/>
                <a:gd name="connsiteX16" fmla="*/ 545523 w 545522"/>
                <a:gd name="connsiteY16" fmla="*/ 324716 h 476250"/>
                <a:gd name="connsiteX17" fmla="*/ 545523 w 545522"/>
                <a:gd name="connsiteY17" fmla="*/ 47625 h 476250"/>
                <a:gd name="connsiteX18" fmla="*/ 497898 w 545522"/>
                <a:gd name="connsiteY18" fmla="*/ 0 h 476250"/>
                <a:gd name="connsiteX19" fmla="*/ 334241 w 545522"/>
                <a:gd name="connsiteY19" fmla="*/ 450273 h 476250"/>
                <a:gd name="connsiteX20" fmla="*/ 211282 w 545522"/>
                <a:gd name="connsiteY20" fmla="*/ 450273 h 476250"/>
                <a:gd name="connsiteX21" fmla="*/ 233795 w 545522"/>
                <a:gd name="connsiteY21" fmla="*/ 393989 h 476250"/>
                <a:gd name="connsiteX22" fmla="*/ 233795 w 545522"/>
                <a:gd name="connsiteY22" fmla="*/ 372341 h 476250"/>
                <a:gd name="connsiteX23" fmla="*/ 311727 w 545522"/>
                <a:gd name="connsiteY23" fmla="*/ 372341 h 476250"/>
                <a:gd name="connsiteX24" fmla="*/ 311727 w 545522"/>
                <a:gd name="connsiteY24" fmla="*/ 393989 h 476250"/>
                <a:gd name="connsiteX25" fmla="*/ 334241 w 545522"/>
                <a:gd name="connsiteY25" fmla="*/ 450273 h 476250"/>
                <a:gd name="connsiteX26" fmla="*/ 519546 w 545522"/>
                <a:gd name="connsiteY26" fmla="*/ 324716 h 476250"/>
                <a:gd name="connsiteX27" fmla="*/ 497898 w 545522"/>
                <a:gd name="connsiteY27" fmla="*/ 346364 h 476250"/>
                <a:gd name="connsiteX28" fmla="*/ 47625 w 545522"/>
                <a:gd name="connsiteY28" fmla="*/ 346364 h 476250"/>
                <a:gd name="connsiteX29" fmla="*/ 25977 w 545522"/>
                <a:gd name="connsiteY29" fmla="*/ 324716 h 476250"/>
                <a:gd name="connsiteX30" fmla="*/ 25977 w 545522"/>
                <a:gd name="connsiteY30" fmla="*/ 47625 h 476250"/>
                <a:gd name="connsiteX31" fmla="*/ 47625 w 545522"/>
                <a:gd name="connsiteY31" fmla="*/ 25977 h 476250"/>
                <a:gd name="connsiteX32" fmla="*/ 497898 w 545522"/>
                <a:gd name="connsiteY32" fmla="*/ 25977 h 476250"/>
                <a:gd name="connsiteX33" fmla="*/ 519546 w 545522"/>
                <a:gd name="connsiteY33" fmla="*/ 47625 h 476250"/>
                <a:gd name="connsiteX34" fmla="*/ 519546 w 545522"/>
                <a:gd name="connsiteY34" fmla="*/ 324716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45522" h="476250">
                  <a:moveTo>
                    <a:pt x="497898" y="0"/>
                  </a:moveTo>
                  <a:lnTo>
                    <a:pt x="47625" y="0"/>
                  </a:lnTo>
                  <a:cubicBezTo>
                    <a:pt x="21648" y="0"/>
                    <a:pt x="0" y="21648"/>
                    <a:pt x="0" y="47625"/>
                  </a:cubicBezTo>
                  <a:lnTo>
                    <a:pt x="0" y="324716"/>
                  </a:lnTo>
                  <a:cubicBezTo>
                    <a:pt x="0" y="350693"/>
                    <a:pt x="21648" y="372341"/>
                    <a:pt x="47625" y="372341"/>
                  </a:cubicBezTo>
                  <a:lnTo>
                    <a:pt x="207818" y="372341"/>
                  </a:lnTo>
                  <a:lnTo>
                    <a:pt x="207818" y="393989"/>
                  </a:lnTo>
                  <a:cubicBezTo>
                    <a:pt x="207818" y="425161"/>
                    <a:pt x="182707" y="450273"/>
                    <a:pt x="151534" y="450273"/>
                  </a:cubicBezTo>
                  <a:cubicBezTo>
                    <a:pt x="144607" y="450273"/>
                    <a:pt x="138545" y="456334"/>
                    <a:pt x="138545" y="463261"/>
                  </a:cubicBezTo>
                  <a:cubicBezTo>
                    <a:pt x="138545" y="470189"/>
                    <a:pt x="144607" y="476250"/>
                    <a:pt x="151534" y="476250"/>
                  </a:cubicBezTo>
                  <a:lnTo>
                    <a:pt x="393989" y="476250"/>
                  </a:lnTo>
                  <a:cubicBezTo>
                    <a:pt x="400916" y="476250"/>
                    <a:pt x="406977" y="470189"/>
                    <a:pt x="406977" y="463261"/>
                  </a:cubicBezTo>
                  <a:cubicBezTo>
                    <a:pt x="406977" y="456334"/>
                    <a:pt x="400916" y="450273"/>
                    <a:pt x="393989" y="450273"/>
                  </a:cubicBezTo>
                  <a:cubicBezTo>
                    <a:pt x="362816" y="450273"/>
                    <a:pt x="337705" y="425161"/>
                    <a:pt x="337705" y="393989"/>
                  </a:cubicBezTo>
                  <a:lnTo>
                    <a:pt x="337705" y="372341"/>
                  </a:lnTo>
                  <a:lnTo>
                    <a:pt x="497898" y="372341"/>
                  </a:lnTo>
                  <a:cubicBezTo>
                    <a:pt x="523875" y="372341"/>
                    <a:pt x="545523" y="350693"/>
                    <a:pt x="545523" y="324716"/>
                  </a:cubicBezTo>
                  <a:lnTo>
                    <a:pt x="545523" y="47625"/>
                  </a:lnTo>
                  <a:cubicBezTo>
                    <a:pt x="545523" y="21648"/>
                    <a:pt x="523875" y="0"/>
                    <a:pt x="497898" y="0"/>
                  </a:cubicBezTo>
                  <a:close/>
                  <a:moveTo>
                    <a:pt x="334241" y="450273"/>
                  </a:moveTo>
                  <a:lnTo>
                    <a:pt x="211282" y="450273"/>
                  </a:lnTo>
                  <a:cubicBezTo>
                    <a:pt x="225136" y="435552"/>
                    <a:pt x="233795" y="415636"/>
                    <a:pt x="233795" y="393989"/>
                  </a:cubicBezTo>
                  <a:lnTo>
                    <a:pt x="233795" y="372341"/>
                  </a:lnTo>
                  <a:lnTo>
                    <a:pt x="311727" y="372341"/>
                  </a:lnTo>
                  <a:lnTo>
                    <a:pt x="311727" y="393989"/>
                  </a:lnTo>
                  <a:cubicBezTo>
                    <a:pt x="311727" y="415636"/>
                    <a:pt x="320386" y="435552"/>
                    <a:pt x="334241" y="450273"/>
                  </a:cubicBezTo>
                  <a:close/>
                  <a:moveTo>
                    <a:pt x="519546" y="324716"/>
                  </a:moveTo>
                  <a:cubicBezTo>
                    <a:pt x="519546" y="336839"/>
                    <a:pt x="510021" y="346364"/>
                    <a:pt x="497898" y="346364"/>
                  </a:cubicBezTo>
                  <a:lnTo>
                    <a:pt x="47625" y="346364"/>
                  </a:lnTo>
                  <a:cubicBezTo>
                    <a:pt x="35502" y="346364"/>
                    <a:pt x="25977" y="336839"/>
                    <a:pt x="25977" y="324716"/>
                  </a:cubicBezTo>
                  <a:lnTo>
                    <a:pt x="25977" y="47625"/>
                  </a:lnTo>
                  <a:cubicBezTo>
                    <a:pt x="25977" y="35502"/>
                    <a:pt x="35502" y="25977"/>
                    <a:pt x="47625" y="25977"/>
                  </a:cubicBezTo>
                  <a:lnTo>
                    <a:pt x="497898" y="25977"/>
                  </a:lnTo>
                  <a:cubicBezTo>
                    <a:pt x="510021" y="25977"/>
                    <a:pt x="519546" y="35502"/>
                    <a:pt x="519546" y="47625"/>
                  </a:cubicBezTo>
                  <a:lnTo>
                    <a:pt x="519546" y="324716"/>
                  </a:lnTo>
                  <a:close/>
                </a:path>
              </a:pathLst>
            </a:custGeom>
            <a:grp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17" name="Freeform: Shape 11">
              <a:extLst>
                <a:ext uri="{FF2B5EF4-FFF2-40B4-BE49-F238E27FC236}">
                  <a16:creationId xmlns:a16="http://schemas.microsoft.com/office/drawing/2014/main" id="{00E92983-32CF-C89C-8405-D757EC11E853}"/>
                </a:ext>
              </a:extLst>
            </p:cNvPr>
            <p:cNvSpPr/>
            <p:nvPr/>
          </p:nvSpPr>
          <p:spPr>
            <a:xfrm>
              <a:off x="-4175207" y="3016836"/>
              <a:ext cx="233795" cy="233795"/>
            </a:xfrm>
            <a:custGeom>
              <a:avLst/>
              <a:gdLst>
                <a:gd name="connsiteX0" fmla="*/ 233795 w 233795"/>
                <a:gd name="connsiteY0" fmla="*/ 116898 h 233795"/>
                <a:gd name="connsiteX1" fmla="*/ 116898 w 233795"/>
                <a:gd name="connsiteY1" fmla="*/ 233796 h 233795"/>
                <a:gd name="connsiteX2" fmla="*/ 0 w 233795"/>
                <a:gd name="connsiteY2" fmla="*/ 116898 h 233795"/>
                <a:gd name="connsiteX3" fmla="*/ 116898 w 233795"/>
                <a:gd name="connsiteY3" fmla="*/ 0 h 233795"/>
                <a:gd name="connsiteX4" fmla="*/ 233795 w 233795"/>
                <a:gd name="connsiteY4" fmla="*/ 116898 h 233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95" h="233795">
                  <a:moveTo>
                    <a:pt x="233795" y="116898"/>
                  </a:moveTo>
                  <a:cubicBezTo>
                    <a:pt x="233795" y="181459"/>
                    <a:pt x="181459" y="233796"/>
                    <a:pt x="116898" y="233796"/>
                  </a:cubicBezTo>
                  <a:cubicBezTo>
                    <a:pt x="52337" y="233796"/>
                    <a:pt x="0" y="181459"/>
                    <a:pt x="0" y="116898"/>
                  </a:cubicBezTo>
                  <a:cubicBezTo>
                    <a:pt x="0" y="52337"/>
                    <a:pt x="52337" y="0"/>
                    <a:pt x="116898" y="0"/>
                  </a:cubicBezTo>
                  <a:cubicBezTo>
                    <a:pt x="181459" y="0"/>
                    <a:pt x="233795" y="52337"/>
                    <a:pt x="233795" y="116898"/>
                  </a:cubicBezTo>
                  <a:close/>
                </a:path>
              </a:pathLst>
            </a:custGeom>
            <a:solidFill>
              <a:schemeClr val="accent1"/>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18" name="Freeform: Shape 12">
              <a:extLst>
                <a:ext uri="{FF2B5EF4-FFF2-40B4-BE49-F238E27FC236}">
                  <a16:creationId xmlns:a16="http://schemas.microsoft.com/office/drawing/2014/main" id="{8D97D0A8-5F6D-93A4-71E4-5BAC8CC39D0B}"/>
                </a:ext>
              </a:extLst>
            </p:cNvPr>
            <p:cNvSpPr/>
            <p:nvPr/>
          </p:nvSpPr>
          <p:spPr>
            <a:xfrm>
              <a:off x="-4088616" y="3086978"/>
              <a:ext cx="77498" cy="93516"/>
            </a:xfrm>
            <a:custGeom>
              <a:avLst/>
              <a:gdLst>
                <a:gd name="connsiteX0" fmla="*/ 0 w 77498"/>
                <a:gd name="connsiteY0" fmla="*/ 8656 h 93516"/>
                <a:gd name="connsiteX1" fmla="*/ 0 w 77498"/>
                <a:gd name="connsiteY1" fmla="*/ 84856 h 93516"/>
                <a:gd name="connsiteX2" fmla="*/ 12989 w 77498"/>
                <a:gd name="connsiteY2" fmla="*/ 91783 h 93516"/>
                <a:gd name="connsiteX3" fmla="*/ 73602 w 77498"/>
                <a:gd name="connsiteY3" fmla="*/ 52817 h 93516"/>
                <a:gd name="connsiteX4" fmla="*/ 73602 w 77498"/>
                <a:gd name="connsiteY4" fmla="*/ 38097 h 93516"/>
                <a:gd name="connsiteX5" fmla="*/ 12989 w 77498"/>
                <a:gd name="connsiteY5" fmla="*/ 862 h 93516"/>
                <a:gd name="connsiteX6" fmla="*/ 0 w 77498"/>
                <a:gd name="connsiteY6" fmla="*/ 8656 h 9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98" h="93516">
                  <a:moveTo>
                    <a:pt x="0" y="8656"/>
                  </a:moveTo>
                  <a:lnTo>
                    <a:pt x="0" y="84856"/>
                  </a:lnTo>
                  <a:cubicBezTo>
                    <a:pt x="0" y="91783"/>
                    <a:pt x="7793" y="96112"/>
                    <a:pt x="12989" y="91783"/>
                  </a:cubicBezTo>
                  <a:lnTo>
                    <a:pt x="73602" y="52817"/>
                  </a:lnTo>
                  <a:cubicBezTo>
                    <a:pt x="78798" y="49353"/>
                    <a:pt x="78798" y="41560"/>
                    <a:pt x="73602" y="38097"/>
                  </a:cubicBezTo>
                  <a:lnTo>
                    <a:pt x="12989" y="862"/>
                  </a:lnTo>
                  <a:cubicBezTo>
                    <a:pt x="6927" y="-1735"/>
                    <a:pt x="0" y="1728"/>
                    <a:pt x="0" y="8656"/>
                  </a:cubicBezTo>
                  <a:close/>
                </a:path>
              </a:pathLst>
            </a:custGeom>
            <a:solidFill>
              <a:schemeClr val="tx2"/>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grpSp>
      <p:grpSp>
        <p:nvGrpSpPr>
          <p:cNvPr id="19" name="Group 18">
            <a:extLst>
              <a:ext uri="{FF2B5EF4-FFF2-40B4-BE49-F238E27FC236}">
                <a16:creationId xmlns:a16="http://schemas.microsoft.com/office/drawing/2014/main" id="{431438E6-4AE7-20AD-49CC-A75343CBAC62}"/>
              </a:ext>
            </a:extLst>
          </p:cNvPr>
          <p:cNvGrpSpPr>
            <a:grpSpLocks noChangeAspect="1"/>
          </p:cNvGrpSpPr>
          <p:nvPr/>
        </p:nvGrpSpPr>
        <p:grpSpPr>
          <a:xfrm>
            <a:off x="1262106" y="1643172"/>
            <a:ext cx="817056" cy="663204"/>
            <a:chOff x="1663994" y="-744631"/>
            <a:chExt cx="544089" cy="441637"/>
          </a:xfrm>
          <a:solidFill>
            <a:schemeClr val="bg1"/>
          </a:solidFill>
        </p:grpSpPr>
        <p:sp>
          <p:nvSpPr>
            <p:cNvPr id="20" name="Freeform: Shape 14">
              <a:extLst>
                <a:ext uri="{FF2B5EF4-FFF2-40B4-BE49-F238E27FC236}">
                  <a16:creationId xmlns:a16="http://schemas.microsoft.com/office/drawing/2014/main" id="{D4D84D7E-7952-FAA5-DC16-C359FDAEE457}"/>
                </a:ext>
              </a:extLst>
            </p:cNvPr>
            <p:cNvSpPr/>
            <p:nvPr/>
          </p:nvSpPr>
          <p:spPr>
            <a:xfrm>
              <a:off x="1663994" y="-744631"/>
              <a:ext cx="544089" cy="441637"/>
            </a:xfrm>
            <a:custGeom>
              <a:avLst/>
              <a:gdLst>
                <a:gd name="connsiteX0" fmla="*/ 168853 w 544089"/>
                <a:gd name="connsiteY0" fmla="*/ 173205 h 441637"/>
                <a:gd name="connsiteX1" fmla="*/ 181841 w 544089"/>
                <a:gd name="connsiteY1" fmla="*/ 186194 h 441637"/>
                <a:gd name="connsiteX2" fmla="*/ 181841 w 544089"/>
                <a:gd name="connsiteY2" fmla="*/ 428648 h 441637"/>
                <a:gd name="connsiteX3" fmla="*/ 168853 w 544089"/>
                <a:gd name="connsiteY3" fmla="*/ 441637 h 441637"/>
                <a:gd name="connsiteX4" fmla="*/ 64944 w 544089"/>
                <a:gd name="connsiteY4" fmla="*/ 441637 h 441637"/>
                <a:gd name="connsiteX5" fmla="*/ 51955 w 544089"/>
                <a:gd name="connsiteY5" fmla="*/ 428648 h 441637"/>
                <a:gd name="connsiteX6" fmla="*/ 51955 w 544089"/>
                <a:gd name="connsiteY6" fmla="*/ 255466 h 441637"/>
                <a:gd name="connsiteX7" fmla="*/ 64944 w 544089"/>
                <a:gd name="connsiteY7" fmla="*/ 242478 h 441637"/>
                <a:gd name="connsiteX8" fmla="*/ 77932 w 544089"/>
                <a:gd name="connsiteY8" fmla="*/ 255466 h 441637"/>
                <a:gd name="connsiteX9" fmla="*/ 77932 w 544089"/>
                <a:gd name="connsiteY9" fmla="*/ 415660 h 441637"/>
                <a:gd name="connsiteX10" fmla="*/ 155864 w 544089"/>
                <a:gd name="connsiteY10" fmla="*/ 415660 h 441637"/>
                <a:gd name="connsiteX11" fmla="*/ 155864 w 544089"/>
                <a:gd name="connsiteY11" fmla="*/ 186194 h 441637"/>
                <a:gd name="connsiteX12" fmla="*/ 168853 w 544089"/>
                <a:gd name="connsiteY12" fmla="*/ 173205 h 441637"/>
                <a:gd name="connsiteX13" fmla="*/ 116898 w 544089"/>
                <a:gd name="connsiteY13" fmla="*/ 26001 h 441637"/>
                <a:gd name="connsiteX14" fmla="*/ 69273 w 544089"/>
                <a:gd name="connsiteY14" fmla="*/ 73626 h 441637"/>
                <a:gd name="connsiteX15" fmla="*/ 116898 w 544089"/>
                <a:gd name="connsiteY15" fmla="*/ 121251 h 441637"/>
                <a:gd name="connsiteX16" fmla="*/ 164523 w 544089"/>
                <a:gd name="connsiteY16" fmla="*/ 73626 h 441637"/>
                <a:gd name="connsiteX17" fmla="*/ 116898 w 544089"/>
                <a:gd name="connsiteY17" fmla="*/ 26001 h 441637"/>
                <a:gd name="connsiteX18" fmla="*/ 110945 w 544089"/>
                <a:gd name="connsiteY18" fmla="*/ 240 h 441637"/>
                <a:gd name="connsiteX19" fmla="*/ 164523 w 544089"/>
                <a:gd name="connsiteY19" fmla="*/ 17342 h 441637"/>
                <a:gd name="connsiteX20" fmla="*/ 173182 w 544089"/>
                <a:gd name="connsiteY20" fmla="*/ 121251 h 441637"/>
                <a:gd name="connsiteX21" fmla="*/ 290080 w 544089"/>
                <a:gd name="connsiteY21" fmla="*/ 121251 h 441637"/>
                <a:gd name="connsiteX22" fmla="*/ 303068 w 544089"/>
                <a:gd name="connsiteY22" fmla="*/ 134239 h 441637"/>
                <a:gd name="connsiteX23" fmla="*/ 290080 w 544089"/>
                <a:gd name="connsiteY23" fmla="*/ 147228 h 441637"/>
                <a:gd name="connsiteX24" fmla="*/ 116898 w 544089"/>
                <a:gd name="connsiteY24" fmla="*/ 147228 h 441637"/>
                <a:gd name="connsiteX25" fmla="*/ 25977 w 544089"/>
                <a:gd name="connsiteY25" fmla="*/ 230355 h 441637"/>
                <a:gd name="connsiteX26" fmla="*/ 25977 w 544089"/>
                <a:gd name="connsiteY26" fmla="*/ 307421 h 441637"/>
                <a:gd name="connsiteX27" fmla="*/ 12989 w 544089"/>
                <a:gd name="connsiteY27" fmla="*/ 320410 h 441637"/>
                <a:gd name="connsiteX28" fmla="*/ 0 w 544089"/>
                <a:gd name="connsiteY28" fmla="*/ 307421 h 441637"/>
                <a:gd name="connsiteX29" fmla="*/ 0 w 544089"/>
                <a:gd name="connsiteY29" fmla="*/ 230355 h 441637"/>
                <a:gd name="connsiteX30" fmla="*/ 70139 w 544089"/>
                <a:gd name="connsiteY30" fmla="*/ 130776 h 441637"/>
                <a:gd name="connsiteX31" fmla="*/ 69273 w 544089"/>
                <a:gd name="connsiteY31" fmla="*/ 129910 h 441637"/>
                <a:gd name="connsiteX32" fmla="*/ 60614 w 544089"/>
                <a:gd name="connsiteY32" fmla="*/ 26001 h 441637"/>
                <a:gd name="connsiteX33" fmla="*/ 110945 w 544089"/>
                <a:gd name="connsiteY33" fmla="*/ 240 h 441637"/>
                <a:gd name="connsiteX34" fmla="*/ 255444 w 544089"/>
                <a:gd name="connsiteY34" fmla="*/ 24 h 441637"/>
                <a:gd name="connsiteX35" fmla="*/ 532535 w 544089"/>
                <a:gd name="connsiteY35" fmla="*/ 24 h 441637"/>
                <a:gd name="connsiteX36" fmla="*/ 543791 w 544089"/>
                <a:gd name="connsiteY36" fmla="*/ 13013 h 441637"/>
                <a:gd name="connsiteX37" fmla="*/ 543791 w 544089"/>
                <a:gd name="connsiteY37" fmla="*/ 255467 h 441637"/>
                <a:gd name="connsiteX38" fmla="*/ 530803 w 544089"/>
                <a:gd name="connsiteY38" fmla="*/ 268456 h 441637"/>
                <a:gd name="connsiteX39" fmla="*/ 405246 w 544089"/>
                <a:gd name="connsiteY39" fmla="*/ 268456 h 441637"/>
                <a:gd name="connsiteX40" fmla="*/ 405246 w 544089"/>
                <a:gd name="connsiteY40" fmla="*/ 319544 h 441637"/>
                <a:gd name="connsiteX41" fmla="*/ 453737 w 544089"/>
                <a:gd name="connsiteY41" fmla="*/ 368035 h 441637"/>
                <a:gd name="connsiteX42" fmla="*/ 453737 w 544089"/>
                <a:gd name="connsiteY42" fmla="*/ 386219 h 441637"/>
                <a:gd name="connsiteX43" fmla="*/ 435553 w 544089"/>
                <a:gd name="connsiteY43" fmla="*/ 386219 h 441637"/>
                <a:gd name="connsiteX44" fmla="*/ 393123 w 544089"/>
                <a:gd name="connsiteY44" fmla="*/ 343790 h 441637"/>
                <a:gd name="connsiteX45" fmla="*/ 350694 w 544089"/>
                <a:gd name="connsiteY45" fmla="*/ 386219 h 441637"/>
                <a:gd name="connsiteX46" fmla="*/ 332510 w 544089"/>
                <a:gd name="connsiteY46" fmla="*/ 386219 h 441637"/>
                <a:gd name="connsiteX47" fmla="*/ 332510 w 544089"/>
                <a:gd name="connsiteY47" fmla="*/ 368035 h 441637"/>
                <a:gd name="connsiteX48" fmla="*/ 381000 w 544089"/>
                <a:gd name="connsiteY48" fmla="*/ 319544 h 441637"/>
                <a:gd name="connsiteX49" fmla="*/ 381000 w 544089"/>
                <a:gd name="connsiteY49" fmla="*/ 268456 h 441637"/>
                <a:gd name="connsiteX50" fmla="*/ 255444 w 544089"/>
                <a:gd name="connsiteY50" fmla="*/ 268456 h 441637"/>
                <a:gd name="connsiteX51" fmla="*/ 242455 w 544089"/>
                <a:gd name="connsiteY51" fmla="*/ 255467 h 441637"/>
                <a:gd name="connsiteX52" fmla="*/ 242455 w 544089"/>
                <a:gd name="connsiteY52" fmla="*/ 186194 h 441637"/>
                <a:gd name="connsiteX53" fmla="*/ 255444 w 544089"/>
                <a:gd name="connsiteY53" fmla="*/ 173206 h 441637"/>
                <a:gd name="connsiteX54" fmla="*/ 268432 w 544089"/>
                <a:gd name="connsiteY54" fmla="*/ 186194 h 441637"/>
                <a:gd name="connsiteX55" fmla="*/ 268432 w 544089"/>
                <a:gd name="connsiteY55" fmla="*/ 242479 h 441637"/>
                <a:gd name="connsiteX56" fmla="*/ 519546 w 544089"/>
                <a:gd name="connsiteY56" fmla="*/ 242479 h 441637"/>
                <a:gd name="connsiteX57" fmla="*/ 519546 w 544089"/>
                <a:gd name="connsiteY57" fmla="*/ 26001 h 441637"/>
                <a:gd name="connsiteX58" fmla="*/ 268432 w 544089"/>
                <a:gd name="connsiteY58" fmla="*/ 26001 h 441637"/>
                <a:gd name="connsiteX59" fmla="*/ 268432 w 544089"/>
                <a:gd name="connsiteY59" fmla="*/ 82285 h 441637"/>
                <a:gd name="connsiteX60" fmla="*/ 255444 w 544089"/>
                <a:gd name="connsiteY60" fmla="*/ 95274 h 441637"/>
                <a:gd name="connsiteX61" fmla="*/ 242455 w 544089"/>
                <a:gd name="connsiteY61" fmla="*/ 82285 h 441637"/>
                <a:gd name="connsiteX62" fmla="*/ 242455 w 544089"/>
                <a:gd name="connsiteY62" fmla="*/ 13013 h 441637"/>
                <a:gd name="connsiteX63" fmla="*/ 255444 w 544089"/>
                <a:gd name="connsiteY63" fmla="*/ 24 h 44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44089" h="441637">
                  <a:moveTo>
                    <a:pt x="168853" y="173205"/>
                  </a:moveTo>
                  <a:cubicBezTo>
                    <a:pt x="175780" y="173205"/>
                    <a:pt x="181841" y="179266"/>
                    <a:pt x="181841" y="186194"/>
                  </a:cubicBezTo>
                  <a:lnTo>
                    <a:pt x="181841" y="428648"/>
                  </a:lnTo>
                  <a:cubicBezTo>
                    <a:pt x="181841" y="435575"/>
                    <a:pt x="175780" y="441637"/>
                    <a:pt x="168853" y="441637"/>
                  </a:cubicBezTo>
                  <a:lnTo>
                    <a:pt x="64944" y="441637"/>
                  </a:lnTo>
                  <a:cubicBezTo>
                    <a:pt x="58016" y="441637"/>
                    <a:pt x="51955" y="435575"/>
                    <a:pt x="51955" y="428648"/>
                  </a:cubicBezTo>
                  <a:lnTo>
                    <a:pt x="51955" y="255466"/>
                  </a:lnTo>
                  <a:cubicBezTo>
                    <a:pt x="51955" y="248539"/>
                    <a:pt x="58016" y="242478"/>
                    <a:pt x="64944" y="242478"/>
                  </a:cubicBezTo>
                  <a:cubicBezTo>
                    <a:pt x="71871" y="242478"/>
                    <a:pt x="77932" y="248539"/>
                    <a:pt x="77932" y="255466"/>
                  </a:cubicBezTo>
                  <a:lnTo>
                    <a:pt x="77932" y="415660"/>
                  </a:lnTo>
                  <a:lnTo>
                    <a:pt x="155864" y="415660"/>
                  </a:lnTo>
                  <a:lnTo>
                    <a:pt x="155864" y="186194"/>
                  </a:lnTo>
                  <a:cubicBezTo>
                    <a:pt x="155864" y="179266"/>
                    <a:pt x="161925" y="173205"/>
                    <a:pt x="168853" y="173205"/>
                  </a:cubicBezTo>
                  <a:close/>
                  <a:moveTo>
                    <a:pt x="116898" y="26001"/>
                  </a:moveTo>
                  <a:cubicBezTo>
                    <a:pt x="90920" y="26001"/>
                    <a:pt x="69273" y="47648"/>
                    <a:pt x="69273" y="73626"/>
                  </a:cubicBezTo>
                  <a:cubicBezTo>
                    <a:pt x="69273" y="100469"/>
                    <a:pt x="90055" y="121251"/>
                    <a:pt x="116898" y="121251"/>
                  </a:cubicBezTo>
                  <a:cubicBezTo>
                    <a:pt x="142875" y="121251"/>
                    <a:pt x="164523" y="99603"/>
                    <a:pt x="164523" y="73626"/>
                  </a:cubicBezTo>
                  <a:cubicBezTo>
                    <a:pt x="164523" y="47648"/>
                    <a:pt x="142875" y="26001"/>
                    <a:pt x="116898" y="26001"/>
                  </a:cubicBezTo>
                  <a:close/>
                  <a:moveTo>
                    <a:pt x="110945" y="240"/>
                  </a:moveTo>
                  <a:cubicBezTo>
                    <a:pt x="129670" y="-1276"/>
                    <a:pt x="148936" y="4353"/>
                    <a:pt x="164523" y="17342"/>
                  </a:cubicBezTo>
                  <a:cubicBezTo>
                    <a:pt x="195696" y="44185"/>
                    <a:pt x="199159" y="90078"/>
                    <a:pt x="173182" y="121251"/>
                  </a:cubicBezTo>
                  <a:lnTo>
                    <a:pt x="290080" y="121251"/>
                  </a:lnTo>
                  <a:cubicBezTo>
                    <a:pt x="297007" y="121251"/>
                    <a:pt x="303068" y="127312"/>
                    <a:pt x="303068" y="134239"/>
                  </a:cubicBezTo>
                  <a:cubicBezTo>
                    <a:pt x="303068" y="141167"/>
                    <a:pt x="297007" y="147228"/>
                    <a:pt x="290080" y="147228"/>
                  </a:cubicBezTo>
                  <a:lnTo>
                    <a:pt x="116898" y="147228"/>
                  </a:lnTo>
                  <a:cubicBezTo>
                    <a:pt x="66675" y="147228"/>
                    <a:pt x="25977" y="184462"/>
                    <a:pt x="25977" y="230355"/>
                  </a:cubicBezTo>
                  <a:lnTo>
                    <a:pt x="25977" y="307421"/>
                  </a:lnTo>
                  <a:cubicBezTo>
                    <a:pt x="25977" y="314348"/>
                    <a:pt x="19916" y="320410"/>
                    <a:pt x="12989" y="320410"/>
                  </a:cubicBezTo>
                  <a:cubicBezTo>
                    <a:pt x="6061" y="320410"/>
                    <a:pt x="0" y="314348"/>
                    <a:pt x="0" y="307421"/>
                  </a:cubicBezTo>
                  <a:lnTo>
                    <a:pt x="0" y="230355"/>
                  </a:lnTo>
                  <a:cubicBezTo>
                    <a:pt x="866" y="186194"/>
                    <a:pt x="28575" y="146362"/>
                    <a:pt x="70139" y="130776"/>
                  </a:cubicBezTo>
                  <a:cubicBezTo>
                    <a:pt x="70139" y="129910"/>
                    <a:pt x="69273" y="129910"/>
                    <a:pt x="69273" y="129910"/>
                  </a:cubicBezTo>
                  <a:cubicBezTo>
                    <a:pt x="38100" y="103067"/>
                    <a:pt x="33771" y="57173"/>
                    <a:pt x="60614" y="26001"/>
                  </a:cubicBezTo>
                  <a:cubicBezTo>
                    <a:pt x="74035" y="10415"/>
                    <a:pt x="92219" y="1755"/>
                    <a:pt x="110945" y="240"/>
                  </a:cubicBezTo>
                  <a:close/>
                  <a:moveTo>
                    <a:pt x="255444" y="24"/>
                  </a:moveTo>
                  <a:lnTo>
                    <a:pt x="532535" y="24"/>
                  </a:lnTo>
                  <a:cubicBezTo>
                    <a:pt x="539462" y="24"/>
                    <a:pt x="545523" y="6085"/>
                    <a:pt x="543791" y="13013"/>
                  </a:cubicBezTo>
                  <a:lnTo>
                    <a:pt x="543791" y="255467"/>
                  </a:lnTo>
                  <a:cubicBezTo>
                    <a:pt x="543791" y="262394"/>
                    <a:pt x="537730" y="268456"/>
                    <a:pt x="530803" y="268456"/>
                  </a:cubicBezTo>
                  <a:lnTo>
                    <a:pt x="405246" y="268456"/>
                  </a:lnTo>
                  <a:lnTo>
                    <a:pt x="405246" y="319544"/>
                  </a:lnTo>
                  <a:lnTo>
                    <a:pt x="453737" y="368035"/>
                  </a:lnTo>
                  <a:cubicBezTo>
                    <a:pt x="458932" y="373231"/>
                    <a:pt x="458932" y="381024"/>
                    <a:pt x="453737" y="386219"/>
                  </a:cubicBezTo>
                  <a:cubicBezTo>
                    <a:pt x="448541" y="391415"/>
                    <a:pt x="440748" y="391415"/>
                    <a:pt x="435553" y="386219"/>
                  </a:cubicBezTo>
                  <a:lnTo>
                    <a:pt x="393123" y="343790"/>
                  </a:lnTo>
                  <a:lnTo>
                    <a:pt x="350694" y="386219"/>
                  </a:lnTo>
                  <a:cubicBezTo>
                    <a:pt x="345498" y="391415"/>
                    <a:pt x="337705" y="391415"/>
                    <a:pt x="332510" y="386219"/>
                  </a:cubicBezTo>
                  <a:cubicBezTo>
                    <a:pt x="327314" y="381024"/>
                    <a:pt x="327314" y="373231"/>
                    <a:pt x="332510" y="368035"/>
                  </a:cubicBezTo>
                  <a:lnTo>
                    <a:pt x="381000" y="319544"/>
                  </a:lnTo>
                  <a:lnTo>
                    <a:pt x="381000" y="268456"/>
                  </a:lnTo>
                  <a:lnTo>
                    <a:pt x="255444" y="268456"/>
                  </a:lnTo>
                  <a:cubicBezTo>
                    <a:pt x="248516" y="268456"/>
                    <a:pt x="242455" y="262394"/>
                    <a:pt x="242455" y="255467"/>
                  </a:cubicBezTo>
                  <a:lnTo>
                    <a:pt x="242455" y="186194"/>
                  </a:lnTo>
                  <a:cubicBezTo>
                    <a:pt x="242455" y="179267"/>
                    <a:pt x="248516" y="173206"/>
                    <a:pt x="255444" y="173206"/>
                  </a:cubicBezTo>
                  <a:cubicBezTo>
                    <a:pt x="262371" y="173206"/>
                    <a:pt x="268432" y="179267"/>
                    <a:pt x="268432" y="186194"/>
                  </a:cubicBezTo>
                  <a:lnTo>
                    <a:pt x="268432" y="242479"/>
                  </a:lnTo>
                  <a:lnTo>
                    <a:pt x="519546" y="242479"/>
                  </a:lnTo>
                  <a:lnTo>
                    <a:pt x="519546" y="26001"/>
                  </a:lnTo>
                  <a:lnTo>
                    <a:pt x="268432" y="26001"/>
                  </a:lnTo>
                  <a:lnTo>
                    <a:pt x="268432" y="82285"/>
                  </a:lnTo>
                  <a:cubicBezTo>
                    <a:pt x="268432" y="89213"/>
                    <a:pt x="262371" y="95274"/>
                    <a:pt x="255444" y="95274"/>
                  </a:cubicBezTo>
                  <a:cubicBezTo>
                    <a:pt x="248516" y="95274"/>
                    <a:pt x="242455" y="89213"/>
                    <a:pt x="242455" y="82285"/>
                  </a:cubicBezTo>
                  <a:lnTo>
                    <a:pt x="242455" y="13013"/>
                  </a:lnTo>
                  <a:cubicBezTo>
                    <a:pt x="242455" y="6085"/>
                    <a:pt x="248516" y="24"/>
                    <a:pt x="255444" y="24"/>
                  </a:cubicBezTo>
                  <a:close/>
                </a:path>
              </a:pathLst>
            </a:custGeom>
            <a:grp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21" name="Freeform: Shape 15">
              <a:extLst>
                <a:ext uri="{FF2B5EF4-FFF2-40B4-BE49-F238E27FC236}">
                  <a16:creationId xmlns:a16="http://schemas.microsoft.com/office/drawing/2014/main" id="{A713580B-CFA7-999A-4393-33C6A63F110D}"/>
                </a:ext>
              </a:extLst>
            </p:cNvPr>
            <p:cNvSpPr/>
            <p:nvPr/>
          </p:nvSpPr>
          <p:spPr>
            <a:xfrm>
              <a:off x="1967062" y="-675524"/>
              <a:ext cx="181840" cy="130075"/>
            </a:xfrm>
            <a:custGeom>
              <a:avLst/>
              <a:gdLst>
                <a:gd name="connsiteX0" fmla="*/ 8659 w 181840"/>
                <a:gd name="connsiteY0" fmla="*/ 130076 h 130075"/>
                <a:gd name="connsiteX1" fmla="*/ 0 w 181840"/>
                <a:gd name="connsiteY1" fmla="*/ 121417 h 130075"/>
                <a:gd name="connsiteX2" fmla="*/ 0 w 181840"/>
                <a:gd name="connsiteY2" fmla="*/ 120551 h 130075"/>
                <a:gd name="connsiteX3" fmla="*/ 34636 w 181840"/>
                <a:gd name="connsiteY3" fmla="*/ 81585 h 130075"/>
                <a:gd name="connsiteX4" fmla="*/ 69273 w 181840"/>
                <a:gd name="connsiteY4" fmla="*/ 78987 h 130075"/>
                <a:gd name="connsiteX5" fmla="*/ 121227 w 181840"/>
                <a:gd name="connsiteY5" fmla="*/ 53876 h 130075"/>
                <a:gd name="connsiteX6" fmla="*/ 177511 w 181840"/>
                <a:gd name="connsiteY6" fmla="*/ 1055 h 130075"/>
                <a:gd name="connsiteX7" fmla="*/ 181841 w 181840"/>
                <a:gd name="connsiteY7" fmla="*/ 8848 h 130075"/>
                <a:gd name="connsiteX8" fmla="*/ 181841 w 181840"/>
                <a:gd name="connsiteY8" fmla="*/ 121417 h 130075"/>
                <a:gd name="connsiteX9" fmla="*/ 173182 w 181840"/>
                <a:gd name="connsiteY9" fmla="*/ 130076 h 130075"/>
                <a:gd name="connsiteX10" fmla="*/ 8659 w 181840"/>
                <a:gd name="connsiteY10" fmla="*/ 130076 h 13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840" h="130075">
                  <a:moveTo>
                    <a:pt x="8659" y="130076"/>
                  </a:moveTo>
                  <a:cubicBezTo>
                    <a:pt x="3464" y="130076"/>
                    <a:pt x="0" y="126612"/>
                    <a:pt x="0" y="121417"/>
                  </a:cubicBezTo>
                  <a:cubicBezTo>
                    <a:pt x="0" y="121417"/>
                    <a:pt x="0" y="120551"/>
                    <a:pt x="0" y="120551"/>
                  </a:cubicBezTo>
                  <a:cubicBezTo>
                    <a:pt x="2598" y="91976"/>
                    <a:pt x="18184" y="74658"/>
                    <a:pt x="34636" y="81585"/>
                  </a:cubicBezTo>
                  <a:cubicBezTo>
                    <a:pt x="51955" y="90244"/>
                    <a:pt x="55418" y="98903"/>
                    <a:pt x="69273" y="78987"/>
                  </a:cubicBezTo>
                  <a:cubicBezTo>
                    <a:pt x="86591" y="53876"/>
                    <a:pt x="103909" y="20105"/>
                    <a:pt x="121227" y="53876"/>
                  </a:cubicBezTo>
                  <a:cubicBezTo>
                    <a:pt x="137680" y="85914"/>
                    <a:pt x="154132" y="-11067"/>
                    <a:pt x="177511" y="1055"/>
                  </a:cubicBezTo>
                  <a:cubicBezTo>
                    <a:pt x="180109" y="2787"/>
                    <a:pt x="181841" y="5385"/>
                    <a:pt x="181841" y="8848"/>
                  </a:cubicBezTo>
                  <a:lnTo>
                    <a:pt x="181841" y="121417"/>
                  </a:lnTo>
                  <a:cubicBezTo>
                    <a:pt x="181841" y="126612"/>
                    <a:pt x="178377" y="130076"/>
                    <a:pt x="173182" y="130076"/>
                  </a:cubicBezTo>
                  <a:lnTo>
                    <a:pt x="8659" y="130076"/>
                  </a:lnTo>
                  <a:close/>
                </a:path>
              </a:pathLst>
            </a:custGeom>
            <a:solidFill>
              <a:schemeClr val="accent1"/>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grpSp>
      <p:grpSp>
        <p:nvGrpSpPr>
          <p:cNvPr id="22" name="Group 21">
            <a:extLst>
              <a:ext uri="{FF2B5EF4-FFF2-40B4-BE49-F238E27FC236}">
                <a16:creationId xmlns:a16="http://schemas.microsoft.com/office/drawing/2014/main" id="{BFC5857F-CB96-7715-6D79-4B80DFEBF242}"/>
              </a:ext>
            </a:extLst>
          </p:cNvPr>
          <p:cNvGrpSpPr>
            <a:grpSpLocks noChangeAspect="1"/>
          </p:cNvGrpSpPr>
          <p:nvPr/>
        </p:nvGrpSpPr>
        <p:grpSpPr>
          <a:xfrm>
            <a:off x="7941665" y="1617183"/>
            <a:ext cx="819208" cy="715183"/>
            <a:chOff x="7103327" y="-1990548"/>
            <a:chExt cx="545522" cy="476250"/>
          </a:xfrm>
          <a:solidFill>
            <a:schemeClr val="bg1"/>
          </a:solidFill>
        </p:grpSpPr>
        <p:sp>
          <p:nvSpPr>
            <p:cNvPr id="23" name="Freeform: Shape 22">
              <a:extLst>
                <a:ext uri="{FF2B5EF4-FFF2-40B4-BE49-F238E27FC236}">
                  <a16:creationId xmlns:a16="http://schemas.microsoft.com/office/drawing/2014/main" id="{1EF49115-F750-DAA3-220A-8B25B9E76254}"/>
                </a:ext>
              </a:extLst>
            </p:cNvPr>
            <p:cNvSpPr/>
            <p:nvPr/>
          </p:nvSpPr>
          <p:spPr>
            <a:xfrm>
              <a:off x="7355306" y="-1903957"/>
              <a:ext cx="225136" cy="207818"/>
            </a:xfrm>
            <a:custGeom>
              <a:avLst/>
              <a:gdLst>
                <a:gd name="connsiteX0" fmla="*/ 225136 w 225136"/>
                <a:gd name="connsiteY0" fmla="*/ 17318 h 207818"/>
                <a:gd name="connsiteX1" fmla="*/ 225136 w 225136"/>
                <a:gd name="connsiteY1" fmla="*/ 190500 h 207818"/>
                <a:gd name="connsiteX2" fmla="*/ 207818 w 225136"/>
                <a:gd name="connsiteY2" fmla="*/ 207818 h 207818"/>
                <a:gd name="connsiteX3" fmla="*/ 17318 w 225136"/>
                <a:gd name="connsiteY3" fmla="*/ 207818 h 207818"/>
                <a:gd name="connsiteX4" fmla="*/ 0 w 225136"/>
                <a:gd name="connsiteY4" fmla="*/ 190500 h 207818"/>
                <a:gd name="connsiteX5" fmla="*/ 0 w 225136"/>
                <a:gd name="connsiteY5" fmla="*/ 17318 h 207818"/>
                <a:gd name="connsiteX6" fmla="*/ 17318 w 225136"/>
                <a:gd name="connsiteY6" fmla="*/ 0 h 207818"/>
                <a:gd name="connsiteX7" fmla="*/ 207818 w 225136"/>
                <a:gd name="connsiteY7" fmla="*/ 0 h 207818"/>
                <a:gd name="connsiteX8" fmla="*/ 225136 w 225136"/>
                <a:gd name="connsiteY8" fmla="*/ 17318 h 207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136" h="207818">
                  <a:moveTo>
                    <a:pt x="225136" y="17318"/>
                  </a:moveTo>
                  <a:lnTo>
                    <a:pt x="225136" y="190500"/>
                  </a:lnTo>
                  <a:cubicBezTo>
                    <a:pt x="225136" y="200025"/>
                    <a:pt x="217343" y="207818"/>
                    <a:pt x="207818" y="207818"/>
                  </a:cubicBezTo>
                  <a:lnTo>
                    <a:pt x="17318" y="207818"/>
                  </a:lnTo>
                  <a:cubicBezTo>
                    <a:pt x="7793" y="207818"/>
                    <a:pt x="0" y="200025"/>
                    <a:pt x="0" y="190500"/>
                  </a:cubicBezTo>
                  <a:lnTo>
                    <a:pt x="0" y="17318"/>
                  </a:lnTo>
                  <a:cubicBezTo>
                    <a:pt x="0" y="7793"/>
                    <a:pt x="7793" y="0"/>
                    <a:pt x="17318" y="0"/>
                  </a:cubicBezTo>
                  <a:lnTo>
                    <a:pt x="207818" y="0"/>
                  </a:lnTo>
                  <a:cubicBezTo>
                    <a:pt x="217343" y="0"/>
                    <a:pt x="225136" y="7793"/>
                    <a:pt x="225136" y="17318"/>
                  </a:cubicBezTo>
                  <a:close/>
                </a:path>
              </a:pathLst>
            </a:custGeom>
            <a:solidFill>
              <a:schemeClr val="accent1"/>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24" name="Freeform: Shape 23">
              <a:extLst>
                <a:ext uri="{FF2B5EF4-FFF2-40B4-BE49-F238E27FC236}">
                  <a16:creationId xmlns:a16="http://schemas.microsoft.com/office/drawing/2014/main" id="{FA7E1CDC-106E-47CD-07F3-9F1FA3C7BD59}"/>
                </a:ext>
              </a:extLst>
            </p:cNvPr>
            <p:cNvSpPr/>
            <p:nvPr/>
          </p:nvSpPr>
          <p:spPr>
            <a:xfrm>
              <a:off x="7399441" y="-1847240"/>
              <a:ext cx="135541" cy="103476"/>
            </a:xfrm>
            <a:custGeom>
              <a:avLst/>
              <a:gdLst>
                <a:gd name="connsiteX0" fmla="*/ 45920 w 135541"/>
                <a:gd name="connsiteY0" fmla="*/ 103476 h 103476"/>
                <a:gd name="connsiteX1" fmla="*/ 36395 w 135541"/>
                <a:gd name="connsiteY1" fmla="*/ 100012 h 103476"/>
                <a:gd name="connsiteX2" fmla="*/ 3491 w 135541"/>
                <a:gd name="connsiteY2" fmla="*/ 67108 h 103476"/>
                <a:gd name="connsiteX3" fmla="*/ 4356 w 135541"/>
                <a:gd name="connsiteY3" fmla="*/ 48924 h 103476"/>
                <a:gd name="connsiteX4" fmla="*/ 21675 w 135541"/>
                <a:gd name="connsiteY4" fmla="*/ 48924 h 103476"/>
                <a:gd name="connsiteX5" fmla="*/ 45054 w 135541"/>
                <a:gd name="connsiteY5" fmla="*/ 72303 h 103476"/>
                <a:gd name="connsiteX6" fmla="*/ 113461 w 135541"/>
                <a:gd name="connsiteY6" fmla="*/ 3897 h 103476"/>
                <a:gd name="connsiteX7" fmla="*/ 131645 w 135541"/>
                <a:gd name="connsiteY7" fmla="*/ 3897 h 103476"/>
                <a:gd name="connsiteX8" fmla="*/ 131645 w 135541"/>
                <a:gd name="connsiteY8" fmla="*/ 3897 h 103476"/>
                <a:gd name="connsiteX9" fmla="*/ 131645 w 135541"/>
                <a:gd name="connsiteY9" fmla="*/ 22081 h 103476"/>
                <a:gd name="connsiteX10" fmla="*/ 53713 w 135541"/>
                <a:gd name="connsiteY10" fmla="*/ 100012 h 103476"/>
                <a:gd name="connsiteX11" fmla="*/ 45920 w 135541"/>
                <a:gd name="connsiteY11" fmla="*/ 103476 h 10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541" h="103476">
                  <a:moveTo>
                    <a:pt x="45920" y="103476"/>
                  </a:moveTo>
                  <a:cubicBezTo>
                    <a:pt x="42456" y="103476"/>
                    <a:pt x="38993" y="101744"/>
                    <a:pt x="36395" y="100012"/>
                  </a:cubicBezTo>
                  <a:lnTo>
                    <a:pt x="3491" y="67108"/>
                  </a:lnTo>
                  <a:cubicBezTo>
                    <a:pt x="-1705" y="61912"/>
                    <a:pt x="-839" y="53253"/>
                    <a:pt x="4356" y="48924"/>
                  </a:cubicBezTo>
                  <a:cubicBezTo>
                    <a:pt x="9552" y="44594"/>
                    <a:pt x="17345" y="44594"/>
                    <a:pt x="21675" y="48924"/>
                  </a:cubicBezTo>
                  <a:lnTo>
                    <a:pt x="45054" y="72303"/>
                  </a:lnTo>
                  <a:lnTo>
                    <a:pt x="113461" y="3897"/>
                  </a:lnTo>
                  <a:cubicBezTo>
                    <a:pt x="118656" y="-1299"/>
                    <a:pt x="126450" y="-1299"/>
                    <a:pt x="131645" y="3897"/>
                  </a:cubicBezTo>
                  <a:cubicBezTo>
                    <a:pt x="131645" y="3897"/>
                    <a:pt x="131645" y="3897"/>
                    <a:pt x="131645" y="3897"/>
                  </a:cubicBezTo>
                  <a:cubicBezTo>
                    <a:pt x="136841" y="9092"/>
                    <a:pt x="136841" y="16885"/>
                    <a:pt x="131645" y="22081"/>
                  </a:cubicBezTo>
                  <a:lnTo>
                    <a:pt x="53713" y="100012"/>
                  </a:lnTo>
                  <a:cubicBezTo>
                    <a:pt x="52847" y="102610"/>
                    <a:pt x="49384" y="103476"/>
                    <a:pt x="45920" y="103476"/>
                  </a:cubicBezTo>
                  <a:close/>
                </a:path>
              </a:pathLst>
            </a:custGeom>
            <a:grp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25" name="Freeform: Shape 24">
              <a:extLst>
                <a:ext uri="{FF2B5EF4-FFF2-40B4-BE49-F238E27FC236}">
                  <a16:creationId xmlns:a16="http://schemas.microsoft.com/office/drawing/2014/main" id="{B6C2781B-38BF-FD2F-7653-A0BC51B075D5}"/>
                </a:ext>
              </a:extLst>
            </p:cNvPr>
            <p:cNvSpPr/>
            <p:nvPr/>
          </p:nvSpPr>
          <p:spPr>
            <a:xfrm>
              <a:off x="7103327" y="-1990548"/>
              <a:ext cx="545522" cy="476250"/>
            </a:xfrm>
            <a:custGeom>
              <a:avLst/>
              <a:gdLst>
                <a:gd name="connsiteX0" fmla="*/ 152400 w 545522"/>
                <a:gd name="connsiteY0" fmla="*/ 476250 h 476250"/>
                <a:gd name="connsiteX1" fmla="*/ 141143 w 545522"/>
                <a:gd name="connsiteY1" fmla="*/ 470189 h 476250"/>
                <a:gd name="connsiteX2" fmla="*/ 140277 w 545522"/>
                <a:gd name="connsiteY2" fmla="*/ 457200 h 476250"/>
                <a:gd name="connsiteX3" fmla="*/ 182707 w 545522"/>
                <a:gd name="connsiteY3" fmla="*/ 372341 h 476250"/>
                <a:gd name="connsiteX4" fmla="*/ 43295 w 545522"/>
                <a:gd name="connsiteY4" fmla="*/ 372341 h 476250"/>
                <a:gd name="connsiteX5" fmla="*/ 0 w 545522"/>
                <a:gd name="connsiteY5" fmla="*/ 329045 h 476250"/>
                <a:gd name="connsiteX6" fmla="*/ 0 w 545522"/>
                <a:gd name="connsiteY6" fmla="*/ 38966 h 476250"/>
                <a:gd name="connsiteX7" fmla="*/ 38966 w 545522"/>
                <a:gd name="connsiteY7" fmla="*/ 0 h 476250"/>
                <a:gd name="connsiteX8" fmla="*/ 38966 w 545522"/>
                <a:gd name="connsiteY8" fmla="*/ 0 h 476250"/>
                <a:gd name="connsiteX9" fmla="*/ 506557 w 545522"/>
                <a:gd name="connsiteY9" fmla="*/ 0 h 476250"/>
                <a:gd name="connsiteX10" fmla="*/ 545523 w 545522"/>
                <a:gd name="connsiteY10" fmla="*/ 38966 h 476250"/>
                <a:gd name="connsiteX11" fmla="*/ 545523 w 545522"/>
                <a:gd name="connsiteY11" fmla="*/ 38966 h 476250"/>
                <a:gd name="connsiteX12" fmla="*/ 545523 w 545522"/>
                <a:gd name="connsiteY12" fmla="*/ 329045 h 476250"/>
                <a:gd name="connsiteX13" fmla="*/ 502227 w 545522"/>
                <a:gd name="connsiteY13" fmla="*/ 372341 h 476250"/>
                <a:gd name="connsiteX14" fmla="*/ 362816 w 545522"/>
                <a:gd name="connsiteY14" fmla="*/ 372341 h 476250"/>
                <a:gd name="connsiteX15" fmla="*/ 405245 w 545522"/>
                <a:gd name="connsiteY15" fmla="*/ 457200 h 476250"/>
                <a:gd name="connsiteX16" fmla="*/ 404380 w 545522"/>
                <a:gd name="connsiteY16" fmla="*/ 470189 h 476250"/>
                <a:gd name="connsiteX17" fmla="*/ 393123 w 545522"/>
                <a:gd name="connsiteY17" fmla="*/ 476250 h 476250"/>
                <a:gd name="connsiteX18" fmla="*/ 152400 w 545522"/>
                <a:gd name="connsiteY18" fmla="*/ 476250 h 476250"/>
                <a:gd name="connsiteX19" fmla="*/ 173182 w 545522"/>
                <a:gd name="connsiteY19" fmla="*/ 450273 h 476250"/>
                <a:gd name="connsiteX20" fmla="*/ 373207 w 545522"/>
                <a:gd name="connsiteY20" fmla="*/ 450273 h 476250"/>
                <a:gd name="connsiteX21" fmla="*/ 334241 w 545522"/>
                <a:gd name="connsiteY21" fmla="*/ 372341 h 476250"/>
                <a:gd name="connsiteX22" fmla="*/ 212148 w 545522"/>
                <a:gd name="connsiteY22" fmla="*/ 372341 h 476250"/>
                <a:gd name="connsiteX23" fmla="*/ 173182 w 545522"/>
                <a:gd name="connsiteY23" fmla="*/ 450273 h 476250"/>
                <a:gd name="connsiteX24" fmla="*/ 39832 w 545522"/>
                <a:gd name="connsiteY24" fmla="*/ 25977 h 476250"/>
                <a:gd name="connsiteX25" fmla="*/ 26843 w 545522"/>
                <a:gd name="connsiteY25" fmla="*/ 38966 h 476250"/>
                <a:gd name="connsiteX26" fmla="*/ 26843 w 545522"/>
                <a:gd name="connsiteY26" fmla="*/ 333375 h 476250"/>
                <a:gd name="connsiteX27" fmla="*/ 39832 w 545522"/>
                <a:gd name="connsiteY27" fmla="*/ 346364 h 476250"/>
                <a:gd name="connsiteX28" fmla="*/ 507423 w 545522"/>
                <a:gd name="connsiteY28" fmla="*/ 346364 h 476250"/>
                <a:gd name="connsiteX29" fmla="*/ 520411 w 545522"/>
                <a:gd name="connsiteY29" fmla="*/ 333375 h 476250"/>
                <a:gd name="connsiteX30" fmla="*/ 520411 w 545522"/>
                <a:gd name="connsiteY30" fmla="*/ 38966 h 476250"/>
                <a:gd name="connsiteX31" fmla="*/ 507423 w 545522"/>
                <a:gd name="connsiteY31" fmla="*/ 25977 h 476250"/>
                <a:gd name="connsiteX32" fmla="*/ 39832 w 545522"/>
                <a:gd name="connsiteY32" fmla="*/ 25977 h 476250"/>
                <a:gd name="connsiteX33" fmla="*/ 200025 w 545522"/>
                <a:gd name="connsiteY33" fmla="*/ 116898 h 476250"/>
                <a:gd name="connsiteX34" fmla="*/ 187036 w 545522"/>
                <a:gd name="connsiteY34" fmla="*/ 103909 h 476250"/>
                <a:gd name="connsiteX35" fmla="*/ 83127 w 545522"/>
                <a:gd name="connsiteY35" fmla="*/ 103909 h 476250"/>
                <a:gd name="connsiteX36" fmla="*/ 70139 w 545522"/>
                <a:gd name="connsiteY36" fmla="*/ 116898 h 476250"/>
                <a:gd name="connsiteX37" fmla="*/ 83127 w 545522"/>
                <a:gd name="connsiteY37" fmla="*/ 129886 h 476250"/>
                <a:gd name="connsiteX38" fmla="*/ 187036 w 545522"/>
                <a:gd name="connsiteY38" fmla="*/ 129886 h 476250"/>
                <a:gd name="connsiteX39" fmla="*/ 200025 w 545522"/>
                <a:gd name="connsiteY39" fmla="*/ 116898 h 476250"/>
                <a:gd name="connsiteX40" fmla="*/ 165389 w 545522"/>
                <a:gd name="connsiteY40" fmla="*/ 186170 h 476250"/>
                <a:gd name="connsiteX41" fmla="*/ 152400 w 545522"/>
                <a:gd name="connsiteY41" fmla="*/ 173182 h 476250"/>
                <a:gd name="connsiteX42" fmla="*/ 83127 w 545522"/>
                <a:gd name="connsiteY42" fmla="*/ 173182 h 476250"/>
                <a:gd name="connsiteX43" fmla="*/ 70139 w 545522"/>
                <a:gd name="connsiteY43" fmla="*/ 186170 h 476250"/>
                <a:gd name="connsiteX44" fmla="*/ 83127 w 545522"/>
                <a:gd name="connsiteY44" fmla="*/ 199159 h 476250"/>
                <a:gd name="connsiteX45" fmla="*/ 152400 w 545522"/>
                <a:gd name="connsiteY45" fmla="*/ 199159 h 476250"/>
                <a:gd name="connsiteX46" fmla="*/ 165389 w 545522"/>
                <a:gd name="connsiteY46" fmla="*/ 186170 h 476250"/>
                <a:gd name="connsiteX47" fmla="*/ 165389 w 545522"/>
                <a:gd name="connsiteY47" fmla="*/ 186170 h 476250"/>
                <a:gd name="connsiteX48" fmla="*/ 200025 w 545522"/>
                <a:gd name="connsiteY48" fmla="*/ 255443 h 476250"/>
                <a:gd name="connsiteX49" fmla="*/ 187036 w 545522"/>
                <a:gd name="connsiteY49" fmla="*/ 242455 h 476250"/>
                <a:gd name="connsiteX50" fmla="*/ 83127 w 545522"/>
                <a:gd name="connsiteY50" fmla="*/ 242455 h 476250"/>
                <a:gd name="connsiteX51" fmla="*/ 70139 w 545522"/>
                <a:gd name="connsiteY51" fmla="*/ 255443 h 476250"/>
                <a:gd name="connsiteX52" fmla="*/ 83127 w 545522"/>
                <a:gd name="connsiteY52" fmla="*/ 268432 h 476250"/>
                <a:gd name="connsiteX53" fmla="*/ 187036 w 545522"/>
                <a:gd name="connsiteY53" fmla="*/ 268432 h 476250"/>
                <a:gd name="connsiteX54" fmla="*/ 200025 w 545522"/>
                <a:gd name="connsiteY54" fmla="*/ 25544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45522" h="476250">
                  <a:moveTo>
                    <a:pt x="152400" y="476250"/>
                  </a:moveTo>
                  <a:cubicBezTo>
                    <a:pt x="148070" y="476250"/>
                    <a:pt x="143741" y="473652"/>
                    <a:pt x="141143" y="470189"/>
                  </a:cubicBezTo>
                  <a:cubicBezTo>
                    <a:pt x="138545" y="466725"/>
                    <a:pt x="138545" y="461529"/>
                    <a:pt x="140277" y="457200"/>
                  </a:cubicBezTo>
                  <a:lnTo>
                    <a:pt x="182707" y="372341"/>
                  </a:lnTo>
                  <a:lnTo>
                    <a:pt x="43295" y="372341"/>
                  </a:lnTo>
                  <a:cubicBezTo>
                    <a:pt x="19050" y="372341"/>
                    <a:pt x="0" y="353291"/>
                    <a:pt x="0" y="329045"/>
                  </a:cubicBezTo>
                  <a:lnTo>
                    <a:pt x="0" y="38966"/>
                  </a:lnTo>
                  <a:cubicBezTo>
                    <a:pt x="0" y="17318"/>
                    <a:pt x="17318" y="0"/>
                    <a:pt x="38966" y="0"/>
                  </a:cubicBezTo>
                  <a:cubicBezTo>
                    <a:pt x="38966" y="0"/>
                    <a:pt x="38966" y="0"/>
                    <a:pt x="38966" y="0"/>
                  </a:cubicBezTo>
                  <a:lnTo>
                    <a:pt x="506557" y="0"/>
                  </a:lnTo>
                  <a:cubicBezTo>
                    <a:pt x="528205" y="0"/>
                    <a:pt x="545523" y="17318"/>
                    <a:pt x="545523" y="38966"/>
                  </a:cubicBezTo>
                  <a:cubicBezTo>
                    <a:pt x="545523" y="38966"/>
                    <a:pt x="545523" y="38966"/>
                    <a:pt x="545523" y="38966"/>
                  </a:cubicBezTo>
                  <a:lnTo>
                    <a:pt x="545523" y="329045"/>
                  </a:lnTo>
                  <a:cubicBezTo>
                    <a:pt x="545523" y="353291"/>
                    <a:pt x="526473" y="372341"/>
                    <a:pt x="502227" y="372341"/>
                  </a:cubicBezTo>
                  <a:lnTo>
                    <a:pt x="362816" y="372341"/>
                  </a:lnTo>
                  <a:lnTo>
                    <a:pt x="405245" y="457200"/>
                  </a:lnTo>
                  <a:cubicBezTo>
                    <a:pt x="406977" y="461529"/>
                    <a:pt x="406977" y="465859"/>
                    <a:pt x="404380" y="470189"/>
                  </a:cubicBezTo>
                  <a:cubicBezTo>
                    <a:pt x="401782" y="473652"/>
                    <a:pt x="397452" y="476250"/>
                    <a:pt x="393123" y="476250"/>
                  </a:cubicBezTo>
                  <a:lnTo>
                    <a:pt x="152400" y="476250"/>
                  </a:lnTo>
                  <a:close/>
                  <a:moveTo>
                    <a:pt x="173182" y="450273"/>
                  </a:moveTo>
                  <a:lnTo>
                    <a:pt x="373207" y="450273"/>
                  </a:lnTo>
                  <a:lnTo>
                    <a:pt x="334241" y="372341"/>
                  </a:lnTo>
                  <a:lnTo>
                    <a:pt x="212148" y="372341"/>
                  </a:lnTo>
                  <a:lnTo>
                    <a:pt x="173182" y="450273"/>
                  </a:lnTo>
                  <a:close/>
                  <a:moveTo>
                    <a:pt x="39832" y="25977"/>
                  </a:moveTo>
                  <a:cubicBezTo>
                    <a:pt x="32904" y="25977"/>
                    <a:pt x="26843" y="32038"/>
                    <a:pt x="26843" y="38966"/>
                  </a:cubicBezTo>
                  <a:lnTo>
                    <a:pt x="26843" y="333375"/>
                  </a:lnTo>
                  <a:cubicBezTo>
                    <a:pt x="26843" y="340302"/>
                    <a:pt x="32904" y="346364"/>
                    <a:pt x="39832" y="346364"/>
                  </a:cubicBezTo>
                  <a:lnTo>
                    <a:pt x="507423" y="346364"/>
                  </a:lnTo>
                  <a:cubicBezTo>
                    <a:pt x="514350" y="346364"/>
                    <a:pt x="520411" y="340302"/>
                    <a:pt x="520411" y="333375"/>
                  </a:cubicBezTo>
                  <a:lnTo>
                    <a:pt x="520411" y="38966"/>
                  </a:lnTo>
                  <a:cubicBezTo>
                    <a:pt x="520411" y="32038"/>
                    <a:pt x="514350" y="25977"/>
                    <a:pt x="507423" y="25977"/>
                  </a:cubicBezTo>
                  <a:lnTo>
                    <a:pt x="39832" y="25977"/>
                  </a:lnTo>
                  <a:close/>
                  <a:moveTo>
                    <a:pt x="200025" y="116898"/>
                  </a:moveTo>
                  <a:cubicBezTo>
                    <a:pt x="200025" y="109970"/>
                    <a:pt x="193964" y="103909"/>
                    <a:pt x="187036" y="103909"/>
                  </a:cubicBezTo>
                  <a:lnTo>
                    <a:pt x="83127" y="103909"/>
                  </a:lnTo>
                  <a:cubicBezTo>
                    <a:pt x="76200" y="103909"/>
                    <a:pt x="70139" y="109970"/>
                    <a:pt x="70139" y="116898"/>
                  </a:cubicBezTo>
                  <a:cubicBezTo>
                    <a:pt x="70139" y="123825"/>
                    <a:pt x="76200" y="129886"/>
                    <a:pt x="83127" y="129886"/>
                  </a:cubicBezTo>
                  <a:lnTo>
                    <a:pt x="187036" y="129886"/>
                  </a:lnTo>
                  <a:cubicBezTo>
                    <a:pt x="193964" y="129886"/>
                    <a:pt x="200025" y="124691"/>
                    <a:pt x="200025" y="116898"/>
                  </a:cubicBezTo>
                  <a:close/>
                  <a:moveTo>
                    <a:pt x="165389" y="186170"/>
                  </a:moveTo>
                  <a:cubicBezTo>
                    <a:pt x="165389" y="179243"/>
                    <a:pt x="159327" y="173182"/>
                    <a:pt x="152400" y="173182"/>
                  </a:cubicBezTo>
                  <a:lnTo>
                    <a:pt x="83127" y="173182"/>
                  </a:lnTo>
                  <a:cubicBezTo>
                    <a:pt x="76200" y="173182"/>
                    <a:pt x="70139" y="179243"/>
                    <a:pt x="70139" y="186170"/>
                  </a:cubicBezTo>
                  <a:cubicBezTo>
                    <a:pt x="70139" y="193098"/>
                    <a:pt x="76200" y="199159"/>
                    <a:pt x="83127" y="199159"/>
                  </a:cubicBezTo>
                  <a:lnTo>
                    <a:pt x="152400" y="199159"/>
                  </a:lnTo>
                  <a:cubicBezTo>
                    <a:pt x="159327" y="199159"/>
                    <a:pt x="165389" y="193964"/>
                    <a:pt x="165389" y="186170"/>
                  </a:cubicBezTo>
                  <a:lnTo>
                    <a:pt x="165389" y="186170"/>
                  </a:lnTo>
                  <a:close/>
                  <a:moveTo>
                    <a:pt x="200025" y="255443"/>
                  </a:moveTo>
                  <a:cubicBezTo>
                    <a:pt x="200025" y="248516"/>
                    <a:pt x="193964" y="242455"/>
                    <a:pt x="187036" y="242455"/>
                  </a:cubicBezTo>
                  <a:lnTo>
                    <a:pt x="83127" y="242455"/>
                  </a:lnTo>
                  <a:cubicBezTo>
                    <a:pt x="76200" y="242455"/>
                    <a:pt x="70139" y="248516"/>
                    <a:pt x="70139" y="255443"/>
                  </a:cubicBezTo>
                  <a:cubicBezTo>
                    <a:pt x="70139" y="262370"/>
                    <a:pt x="76200" y="268432"/>
                    <a:pt x="83127" y="268432"/>
                  </a:cubicBezTo>
                  <a:lnTo>
                    <a:pt x="187036" y="268432"/>
                  </a:lnTo>
                  <a:cubicBezTo>
                    <a:pt x="193964" y="268432"/>
                    <a:pt x="200025" y="263236"/>
                    <a:pt x="200025" y="255443"/>
                  </a:cubicBezTo>
                  <a:close/>
                </a:path>
              </a:pathLst>
            </a:custGeom>
            <a:grp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grpSp>
      <p:grpSp>
        <p:nvGrpSpPr>
          <p:cNvPr id="26" name="Group 25">
            <a:extLst>
              <a:ext uri="{FF2B5EF4-FFF2-40B4-BE49-F238E27FC236}">
                <a16:creationId xmlns:a16="http://schemas.microsoft.com/office/drawing/2014/main" id="{97ABE8E6-863A-8255-3B59-1DAFC6D6E77E}"/>
              </a:ext>
            </a:extLst>
          </p:cNvPr>
          <p:cNvGrpSpPr>
            <a:grpSpLocks noChangeAspect="1"/>
          </p:cNvGrpSpPr>
          <p:nvPr/>
        </p:nvGrpSpPr>
        <p:grpSpPr>
          <a:xfrm>
            <a:off x="3487776" y="1506264"/>
            <a:ext cx="819403" cy="937020"/>
            <a:chOff x="8903905" y="-688594"/>
            <a:chExt cx="361950" cy="413905"/>
          </a:xfrm>
          <a:solidFill>
            <a:schemeClr val="bg1"/>
          </a:solidFill>
        </p:grpSpPr>
        <p:sp>
          <p:nvSpPr>
            <p:cNvPr id="27" name="Freeform: Shape 26">
              <a:extLst>
                <a:ext uri="{FF2B5EF4-FFF2-40B4-BE49-F238E27FC236}">
                  <a16:creationId xmlns:a16="http://schemas.microsoft.com/office/drawing/2014/main" id="{F156BD52-E01E-BFC5-9869-4F82D126600B}"/>
                </a:ext>
              </a:extLst>
            </p:cNvPr>
            <p:cNvSpPr/>
            <p:nvPr/>
          </p:nvSpPr>
          <p:spPr>
            <a:xfrm>
              <a:off x="8961055" y="-688594"/>
              <a:ext cx="304800" cy="382732"/>
            </a:xfrm>
            <a:custGeom>
              <a:avLst/>
              <a:gdLst>
                <a:gd name="connsiteX0" fmla="*/ 226868 w 304800"/>
                <a:gd name="connsiteY0" fmla="*/ 304800 h 382732"/>
                <a:gd name="connsiteX1" fmla="*/ 226868 w 304800"/>
                <a:gd name="connsiteY1" fmla="*/ 362816 h 382732"/>
                <a:gd name="connsiteX2" fmla="*/ 284884 w 304800"/>
                <a:gd name="connsiteY2" fmla="*/ 304800 h 382732"/>
                <a:gd name="connsiteX3" fmla="*/ 73603 w 304800"/>
                <a:gd name="connsiteY3" fmla="*/ 194830 h 382732"/>
                <a:gd name="connsiteX4" fmla="*/ 229467 w 304800"/>
                <a:gd name="connsiteY4" fmla="*/ 194830 h 382732"/>
                <a:gd name="connsiteX5" fmla="*/ 239858 w 304800"/>
                <a:gd name="connsiteY5" fmla="*/ 203489 h 382732"/>
                <a:gd name="connsiteX6" fmla="*/ 231199 w 304800"/>
                <a:gd name="connsiteY6" fmla="*/ 213880 h 382732"/>
                <a:gd name="connsiteX7" fmla="*/ 229467 w 304800"/>
                <a:gd name="connsiteY7" fmla="*/ 213880 h 382732"/>
                <a:gd name="connsiteX8" fmla="*/ 73603 w 304800"/>
                <a:gd name="connsiteY8" fmla="*/ 213880 h 382732"/>
                <a:gd name="connsiteX9" fmla="*/ 64944 w 304800"/>
                <a:gd name="connsiteY9" fmla="*/ 203489 h 382732"/>
                <a:gd name="connsiteX10" fmla="*/ 73603 w 304800"/>
                <a:gd name="connsiteY10" fmla="*/ 194830 h 382732"/>
                <a:gd name="connsiteX11" fmla="*/ 73603 w 304800"/>
                <a:gd name="connsiteY11" fmla="*/ 142875 h 382732"/>
                <a:gd name="connsiteX12" fmla="*/ 226003 w 304800"/>
                <a:gd name="connsiteY12" fmla="*/ 142875 h 382732"/>
                <a:gd name="connsiteX13" fmla="*/ 234662 w 304800"/>
                <a:gd name="connsiteY13" fmla="*/ 153266 h 382732"/>
                <a:gd name="connsiteX14" fmla="*/ 226003 w 304800"/>
                <a:gd name="connsiteY14" fmla="*/ 161925 h 382732"/>
                <a:gd name="connsiteX15" fmla="*/ 73603 w 304800"/>
                <a:gd name="connsiteY15" fmla="*/ 161925 h 382732"/>
                <a:gd name="connsiteX16" fmla="*/ 64944 w 304800"/>
                <a:gd name="connsiteY16" fmla="*/ 151534 h 382732"/>
                <a:gd name="connsiteX17" fmla="*/ 73603 w 304800"/>
                <a:gd name="connsiteY17" fmla="*/ 142875 h 382732"/>
                <a:gd name="connsiteX18" fmla="*/ 73603 w 304800"/>
                <a:gd name="connsiteY18" fmla="*/ 90921 h 382732"/>
                <a:gd name="connsiteX19" fmla="*/ 229467 w 304800"/>
                <a:gd name="connsiteY19" fmla="*/ 90921 h 382732"/>
                <a:gd name="connsiteX20" fmla="*/ 239858 w 304800"/>
                <a:gd name="connsiteY20" fmla="*/ 99580 h 382732"/>
                <a:gd name="connsiteX21" fmla="*/ 231199 w 304800"/>
                <a:gd name="connsiteY21" fmla="*/ 109971 h 382732"/>
                <a:gd name="connsiteX22" fmla="*/ 229467 w 304800"/>
                <a:gd name="connsiteY22" fmla="*/ 109971 h 382732"/>
                <a:gd name="connsiteX23" fmla="*/ 73603 w 304800"/>
                <a:gd name="connsiteY23" fmla="*/ 109971 h 382732"/>
                <a:gd name="connsiteX24" fmla="*/ 64944 w 304800"/>
                <a:gd name="connsiteY24" fmla="*/ 99580 h 382732"/>
                <a:gd name="connsiteX25" fmla="*/ 73603 w 304800"/>
                <a:gd name="connsiteY25" fmla="*/ 90921 h 382732"/>
                <a:gd name="connsiteX26" fmla="*/ 18184 w 304800"/>
                <a:gd name="connsiteY26" fmla="*/ 19050 h 382732"/>
                <a:gd name="connsiteX27" fmla="*/ 18184 w 304800"/>
                <a:gd name="connsiteY27" fmla="*/ 363682 h 382732"/>
                <a:gd name="connsiteX28" fmla="*/ 206952 w 304800"/>
                <a:gd name="connsiteY28" fmla="*/ 363682 h 382732"/>
                <a:gd name="connsiteX29" fmla="*/ 206952 w 304800"/>
                <a:gd name="connsiteY29" fmla="*/ 295275 h 382732"/>
                <a:gd name="connsiteX30" fmla="*/ 216477 w 304800"/>
                <a:gd name="connsiteY30" fmla="*/ 285750 h 382732"/>
                <a:gd name="connsiteX31" fmla="*/ 284884 w 304800"/>
                <a:gd name="connsiteY31" fmla="*/ 285750 h 382732"/>
                <a:gd name="connsiteX32" fmla="*/ 284884 w 304800"/>
                <a:gd name="connsiteY32" fmla="*/ 19050 h 382732"/>
                <a:gd name="connsiteX33" fmla="*/ 9525 w 304800"/>
                <a:gd name="connsiteY33" fmla="*/ 0 h 382732"/>
                <a:gd name="connsiteX34" fmla="*/ 295275 w 304800"/>
                <a:gd name="connsiteY34" fmla="*/ 0 h 382732"/>
                <a:gd name="connsiteX35" fmla="*/ 304800 w 304800"/>
                <a:gd name="connsiteY35" fmla="*/ 9525 h 382732"/>
                <a:gd name="connsiteX36" fmla="*/ 304800 w 304800"/>
                <a:gd name="connsiteY36" fmla="*/ 295275 h 382732"/>
                <a:gd name="connsiteX37" fmla="*/ 217343 w 304800"/>
                <a:gd name="connsiteY37" fmla="*/ 382732 h 382732"/>
                <a:gd name="connsiteX38" fmla="*/ 9525 w 304800"/>
                <a:gd name="connsiteY38" fmla="*/ 382732 h 382732"/>
                <a:gd name="connsiteX39" fmla="*/ 0 w 304800"/>
                <a:gd name="connsiteY39" fmla="*/ 373207 h 382732"/>
                <a:gd name="connsiteX40" fmla="*/ 0 w 304800"/>
                <a:gd name="connsiteY40" fmla="*/ 9525 h 382732"/>
                <a:gd name="connsiteX41" fmla="*/ 9525 w 304800"/>
                <a:gd name="connsiteY41" fmla="*/ 0 h 38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4800" h="382732">
                  <a:moveTo>
                    <a:pt x="226868" y="304800"/>
                  </a:moveTo>
                  <a:lnTo>
                    <a:pt x="226868" y="362816"/>
                  </a:lnTo>
                  <a:cubicBezTo>
                    <a:pt x="256309" y="358486"/>
                    <a:pt x="279689" y="335107"/>
                    <a:pt x="284884" y="304800"/>
                  </a:cubicBezTo>
                  <a:close/>
                  <a:moveTo>
                    <a:pt x="73603" y="194830"/>
                  </a:moveTo>
                  <a:lnTo>
                    <a:pt x="229467" y="194830"/>
                  </a:lnTo>
                  <a:cubicBezTo>
                    <a:pt x="234662" y="194830"/>
                    <a:pt x="239858" y="198294"/>
                    <a:pt x="239858" y="203489"/>
                  </a:cubicBezTo>
                  <a:cubicBezTo>
                    <a:pt x="239858" y="208684"/>
                    <a:pt x="236394" y="213014"/>
                    <a:pt x="231199" y="213880"/>
                  </a:cubicBezTo>
                  <a:cubicBezTo>
                    <a:pt x="231199" y="213880"/>
                    <a:pt x="230332" y="213880"/>
                    <a:pt x="229467" y="213880"/>
                  </a:cubicBezTo>
                  <a:lnTo>
                    <a:pt x="73603" y="213880"/>
                  </a:lnTo>
                  <a:cubicBezTo>
                    <a:pt x="68407" y="213014"/>
                    <a:pt x="64078" y="208684"/>
                    <a:pt x="64944" y="203489"/>
                  </a:cubicBezTo>
                  <a:cubicBezTo>
                    <a:pt x="65810" y="199160"/>
                    <a:pt x="69273" y="194830"/>
                    <a:pt x="73603" y="194830"/>
                  </a:cubicBezTo>
                  <a:close/>
                  <a:moveTo>
                    <a:pt x="73603" y="142875"/>
                  </a:moveTo>
                  <a:lnTo>
                    <a:pt x="226003" y="142875"/>
                  </a:lnTo>
                  <a:cubicBezTo>
                    <a:pt x="231199" y="143741"/>
                    <a:pt x="235528" y="148070"/>
                    <a:pt x="234662" y="153266"/>
                  </a:cubicBezTo>
                  <a:cubicBezTo>
                    <a:pt x="233796" y="157595"/>
                    <a:pt x="230332" y="161925"/>
                    <a:pt x="226003" y="161925"/>
                  </a:cubicBezTo>
                  <a:lnTo>
                    <a:pt x="73603" y="161925"/>
                  </a:lnTo>
                  <a:cubicBezTo>
                    <a:pt x="68407" y="161059"/>
                    <a:pt x="64078" y="156729"/>
                    <a:pt x="64944" y="151534"/>
                  </a:cubicBezTo>
                  <a:cubicBezTo>
                    <a:pt x="65810" y="147205"/>
                    <a:pt x="69273" y="142875"/>
                    <a:pt x="73603" y="142875"/>
                  </a:cubicBezTo>
                  <a:close/>
                  <a:moveTo>
                    <a:pt x="73603" y="90921"/>
                  </a:moveTo>
                  <a:lnTo>
                    <a:pt x="229467" y="90921"/>
                  </a:lnTo>
                  <a:cubicBezTo>
                    <a:pt x="234662" y="90921"/>
                    <a:pt x="239858" y="94385"/>
                    <a:pt x="239858" y="99580"/>
                  </a:cubicBezTo>
                  <a:cubicBezTo>
                    <a:pt x="239858" y="104775"/>
                    <a:pt x="236394" y="109105"/>
                    <a:pt x="231199" y="109971"/>
                  </a:cubicBezTo>
                  <a:cubicBezTo>
                    <a:pt x="231199" y="109971"/>
                    <a:pt x="230332" y="109971"/>
                    <a:pt x="229467" y="109971"/>
                  </a:cubicBezTo>
                  <a:lnTo>
                    <a:pt x="73603" y="109971"/>
                  </a:lnTo>
                  <a:cubicBezTo>
                    <a:pt x="68407" y="109105"/>
                    <a:pt x="64078" y="104775"/>
                    <a:pt x="64944" y="99580"/>
                  </a:cubicBezTo>
                  <a:cubicBezTo>
                    <a:pt x="65810" y="95251"/>
                    <a:pt x="69273" y="90921"/>
                    <a:pt x="73603" y="90921"/>
                  </a:cubicBezTo>
                  <a:close/>
                  <a:moveTo>
                    <a:pt x="18184" y="19050"/>
                  </a:moveTo>
                  <a:lnTo>
                    <a:pt x="18184" y="363682"/>
                  </a:lnTo>
                  <a:lnTo>
                    <a:pt x="206952" y="363682"/>
                  </a:lnTo>
                  <a:lnTo>
                    <a:pt x="206952" y="295275"/>
                  </a:lnTo>
                  <a:cubicBezTo>
                    <a:pt x="206952" y="290080"/>
                    <a:pt x="211282" y="285750"/>
                    <a:pt x="216477" y="285750"/>
                  </a:cubicBezTo>
                  <a:lnTo>
                    <a:pt x="284884" y="285750"/>
                  </a:lnTo>
                  <a:lnTo>
                    <a:pt x="284884" y="19050"/>
                  </a:lnTo>
                  <a:close/>
                  <a:moveTo>
                    <a:pt x="9525" y="0"/>
                  </a:moveTo>
                  <a:lnTo>
                    <a:pt x="295275" y="0"/>
                  </a:lnTo>
                  <a:cubicBezTo>
                    <a:pt x="300471" y="0"/>
                    <a:pt x="304800" y="4330"/>
                    <a:pt x="304800" y="9525"/>
                  </a:cubicBezTo>
                  <a:lnTo>
                    <a:pt x="304800" y="295275"/>
                  </a:lnTo>
                  <a:cubicBezTo>
                    <a:pt x="304800" y="343766"/>
                    <a:pt x="264968" y="382732"/>
                    <a:pt x="217343" y="382732"/>
                  </a:cubicBezTo>
                  <a:lnTo>
                    <a:pt x="9525" y="382732"/>
                  </a:lnTo>
                  <a:cubicBezTo>
                    <a:pt x="4330" y="382732"/>
                    <a:pt x="0" y="378402"/>
                    <a:pt x="0" y="373207"/>
                  </a:cubicBezTo>
                  <a:lnTo>
                    <a:pt x="0" y="9525"/>
                  </a:lnTo>
                  <a:cubicBezTo>
                    <a:pt x="0" y="4330"/>
                    <a:pt x="4330" y="0"/>
                    <a:pt x="9525" y="0"/>
                  </a:cubicBezTo>
                  <a:close/>
                </a:path>
              </a:pathLst>
            </a:custGeom>
            <a:grp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28" name="Freeform: Shape 27">
              <a:extLst>
                <a:ext uri="{FF2B5EF4-FFF2-40B4-BE49-F238E27FC236}">
                  <a16:creationId xmlns:a16="http://schemas.microsoft.com/office/drawing/2014/main" id="{BB639C1B-9549-68E5-CF97-692881267C00}"/>
                </a:ext>
              </a:extLst>
            </p:cNvPr>
            <p:cNvSpPr/>
            <p:nvPr/>
          </p:nvSpPr>
          <p:spPr>
            <a:xfrm>
              <a:off x="8903905" y="-449602"/>
              <a:ext cx="174913" cy="174913"/>
            </a:xfrm>
            <a:custGeom>
              <a:avLst/>
              <a:gdLst>
                <a:gd name="connsiteX0" fmla="*/ 174914 w 174913"/>
                <a:gd name="connsiteY0" fmla="*/ 87457 h 174913"/>
                <a:gd name="connsiteX1" fmla="*/ 87457 w 174913"/>
                <a:gd name="connsiteY1" fmla="*/ 174914 h 174913"/>
                <a:gd name="connsiteX2" fmla="*/ 0 w 174913"/>
                <a:gd name="connsiteY2" fmla="*/ 87457 h 174913"/>
                <a:gd name="connsiteX3" fmla="*/ 87457 w 174913"/>
                <a:gd name="connsiteY3" fmla="*/ 0 h 174913"/>
                <a:gd name="connsiteX4" fmla="*/ 174914 w 174913"/>
                <a:gd name="connsiteY4" fmla="*/ 87457 h 17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13" h="174913">
                  <a:moveTo>
                    <a:pt x="174914" y="87457"/>
                  </a:moveTo>
                  <a:cubicBezTo>
                    <a:pt x="174914" y="135758"/>
                    <a:pt x="135758" y="174914"/>
                    <a:pt x="87457" y="174914"/>
                  </a:cubicBezTo>
                  <a:cubicBezTo>
                    <a:pt x="39156" y="174914"/>
                    <a:pt x="0" y="135758"/>
                    <a:pt x="0" y="87457"/>
                  </a:cubicBezTo>
                  <a:cubicBezTo>
                    <a:pt x="0" y="39156"/>
                    <a:pt x="39155" y="0"/>
                    <a:pt x="87457" y="0"/>
                  </a:cubicBezTo>
                  <a:cubicBezTo>
                    <a:pt x="135758" y="0"/>
                    <a:pt x="174914" y="39156"/>
                    <a:pt x="174914" y="87457"/>
                  </a:cubicBezTo>
                  <a:close/>
                </a:path>
              </a:pathLst>
            </a:custGeom>
            <a:solidFill>
              <a:schemeClr val="accent1"/>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sp>
          <p:nvSpPr>
            <p:cNvPr id="29" name="Freeform: Shape 28">
              <a:extLst>
                <a:ext uri="{FF2B5EF4-FFF2-40B4-BE49-F238E27FC236}">
                  <a16:creationId xmlns:a16="http://schemas.microsoft.com/office/drawing/2014/main" id="{D1D008CC-F918-685C-2C11-7BE58A630AB2}"/>
                </a:ext>
              </a:extLst>
            </p:cNvPr>
            <p:cNvSpPr/>
            <p:nvPr/>
          </p:nvSpPr>
          <p:spPr>
            <a:xfrm>
              <a:off x="8944603" y="-396782"/>
              <a:ext cx="98713" cy="70138"/>
            </a:xfrm>
            <a:custGeom>
              <a:avLst/>
              <a:gdLst>
                <a:gd name="connsiteX0" fmla="*/ 36368 w 98713"/>
                <a:gd name="connsiteY0" fmla="*/ 70139 h 70138"/>
                <a:gd name="connsiteX1" fmla="*/ 29441 w 98713"/>
                <a:gd name="connsiteY1" fmla="*/ 67541 h 70138"/>
                <a:gd name="connsiteX2" fmla="*/ 2598 w 98713"/>
                <a:gd name="connsiteY2" fmla="*/ 40698 h 70138"/>
                <a:gd name="connsiteX3" fmla="*/ 2598 w 98713"/>
                <a:gd name="connsiteY3" fmla="*/ 26843 h 70138"/>
                <a:gd name="connsiteX4" fmla="*/ 16452 w 98713"/>
                <a:gd name="connsiteY4" fmla="*/ 26843 h 70138"/>
                <a:gd name="connsiteX5" fmla="*/ 37234 w 98713"/>
                <a:gd name="connsiteY5" fmla="*/ 47625 h 70138"/>
                <a:gd name="connsiteX6" fmla="*/ 82261 w 98713"/>
                <a:gd name="connsiteY6" fmla="*/ 2598 h 70138"/>
                <a:gd name="connsiteX7" fmla="*/ 96116 w 98713"/>
                <a:gd name="connsiteY7" fmla="*/ 2598 h 70138"/>
                <a:gd name="connsiteX8" fmla="*/ 96116 w 98713"/>
                <a:gd name="connsiteY8" fmla="*/ 16452 h 70138"/>
                <a:gd name="connsiteX9" fmla="*/ 44161 w 98713"/>
                <a:gd name="connsiteY9" fmla="*/ 68407 h 70138"/>
                <a:gd name="connsiteX10" fmla="*/ 36368 w 98713"/>
                <a:gd name="connsiteY10" fmla="*/ 70139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713" h="70138">
                  <a:moveTo>
                    <a:pt x="36368" y="70139"/>
                  </a:moveTo>
                  <a:cubicBezTo>
                    <a:pt x="33770" y="70139"/>
                    <a:pt x="31173" y="69273"/>
                    <a:pt x="29441" y="67541"/>
                  </a:cubicBezTo>
                  <a:lnTo>
                    <a:pt x="2598" y="40698"/>
                  </a:lnTo>
                  <a:cubicBezTo>
                    <a:pt x="-866" y="37234"/>
                    <a:pt x="-866" y="30307"/>
                    <a:pt x="2598" y="26843"/>
                  </a:cubicBezTo>
                  <a:cubicBezTo>
                    <a:pt x="6061" y="23380"/>
                    <a:pt x="12988" y="23380"/>
                    <a:pt x="16452" y="26843"/>
                  </a:cubicBezTo>
                  <a:lnTo>
                    <a:pt x="37234" y="47625"/>
                  </a:lnTo>
                  <a:lnTo>
                    <a:pt x="82261" y="2598"/>
                  </a:lnTo>
                  <a:cubicBezTo>
                    <a:pt x="85725" y="-866"/>
                    <a:pt x="92652" y="-866"/>
                    <a:pt x="96116" y="2598"/>
                  </a:cubicBezTo>
                  <a:cubicBezTo>
                    <a:pt x="99579" y="6061"/>
                    <a:pt x="99579" y="12989"/>
                    <a:pt x="96116" y="16452"/>
                  </a:cubicBezTo>
                  <a:lnTo>
                    <a:pt x="44161" y="68407"/>
                  </a:lnTo>
                  <a:cubicBezTo>
                    <a:pt x="41564" y="69273"/>
                    <a:pt x="38966" y="70139"/>
                    <a:pt x="36368" y="70139"/>
                  </a:cubicBezTo>
                  <a:close/>
                </a:path>
              </a:pathLst>
            </a:custGeom>
            <a:solidFill>
              <a:schemeClr val="tx2"/>
            </a:solidFill>
            <a:ln w="8653" cap="flat">
              <a:noFill/>
              <a:prstDash val="solid"/>
              <a:miter/>
            </a:ln>
          </p:spPr>
          <p:txBody>
            <a:bodyPr rtlCol="0" anchor="ct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endParaRPr lang="en-US" dirty="0">
                <a:latin typeface="ServiceNow Sans" panose="020B0504040101010104" pitchFamily="34" charset="77"/>
              </a:endParaRPr>
            </a:p>
          </p:txBody>
        </p:sp>
      </p:grpSp>
      <p:pic>
        <p:nvPicPr>
          <p:cNvPr id="30" name="Picture 29" descr="A picture containing text, clipart&#10;&#10;Description automatically generated">
            <a:extLst>
              <a:ext uri="{FF2B5EF4-FFF2-40B4-BE49-F238E27FC236}">
                <a16:creationId xmlns:a16="http://schemas.microsoft.com/office/drawing/2014/main" id="{17C2142C-E1D1-5929-73A4-421D98AFB72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08416" y="1756624"/>
            <a:ext cx="1735544" cy="367935"/>
          </a:xfrm>
          <a:prstGeom prst="rect">
            <a:avLst/>
          </a:prstGeom>
        </p:spPr>
      </p:pic>
    </p:spTree>
    <p:extLst>
      <p:ext uri="{BB962C8B-B14F-4D97-AF65-F5344CB8AC3E}">
        <p14:creationId xmlns:p14="http://schemas.microsoft.com/office/powerpoint/2010/main" val="120945914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7CBEA-7750-D18F-60C6-5623527F488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629F754-8099-86D8-C437-9DB0EF719778}"/>
              </a:ext>
            </a:extLst>
          </p:cNvPr>
          <p:cNvSpPr>
            <a:spLocks noGrp="1"/>
          </p:cNvSpPr>
          <p:nvPr>
            <p:ph type="title"/>
          </p:nvPr>
        </p:nvSpPr>
        <p:spPr>
          <a:xfrm>
            <a:off x="548640" y="530352"/>
            <a:ext cx="11082973" cy="594360"/>
          </a:xfrm>
        </p:spPr>
        <p:txBody>
          <a:bodyPr/>
          <a:lstStyle/>
          <a:p>
            <a:r>
              <a:rPr lang="en-US" dirty="0"/>
              <a:t>Hiring Experiences requirements</a:t>
            </a:r>
          </a:p>
        </p:txBody>
      </p:sp>
      <p:sp>
        <p:nvSpPr>
          <p:cNvPr id="22" name="Rounded Rectangle 14">
            <a:extLst>
              <a:ext uri="{FF2B5EF4-FFF2-40B4-BE49-F238E27FC236}">
                <a16:creationId xmlns:a16="http://schemas.microsoft.com/office/drawing/2014/main" id="{8AE070C6-15BE-75DB-16DE-81444DEA312C}"/>
              </a:ext>
              <a:ext uri="{C183D7F6-B498-43B3-948B-1728B52AA6E4}">
                <adec:decorative xmlns:adec="http://schemas.microsoft.com/office/drawing/2017/decorative" val="1"/>
              </a:ext>
            </a:extLst>
          </p:cNvPr>
          <p:cNvSpPr/>
          <p:nvPr/>
        </p:nvSpPr>
        <p:spPr>
          <a:xfrm>
            <a:off x="539993"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latin typeface="ServiceNow Sans"/>
            </a:endParaRPr>
          </a:p>
        </p:txBody>
      </p:sp>
      <p:grpSp>
        <p:nvGrpSpPr>
          <p:cNvPr id="23" name="Group 22">
            <a:extLst>
              <a:ext uri="{FF2B5EF4-FFF2-40B4-BE49-F238E27FC236}">
                <a16:creationId xmlns:a16="http://schemas.microsoft.com/office/drawing/2014/main" id="{948E0B6B-F697-F25F-B97A-FD9B447393BB}"/>
              </a:ext>
              <a:ext uri="{C183D7F6-B498-43B3-948B-1728B52AA6E4}">
                <adec:decorative xmlns:adec="http://schemas.microsoft.com/office/drawing/2017/decorative" val="1"/>
              </a:ext>
            </a:extLst>
          </p:cNvPr>
          <p:cNvGrpSpPr/>
          <p:nvPr/>
        </p:nvGrpSpPr>
        <p:grpSpPr>
          <a:xfrm>
            <a:off x="538115" y="1420312"/>
            <a:ext cx="2661856" cy="734784"/>
            <a:chOff x="3998216" y="4807544"/>
            <a:chExt cx="2232977" cy="880287"/>
          </a:xfrm>
        </p:grpSpPr>
        <p:sp>
          <p:nvSpPr>
            <p:cNvPr id="24" name="Rounded Rectangle 23">
              <a:extLst>
                <a:ext uri="{FF2B5EF4-FFF2-40B4-BE49-F238E27FC236}">
                  <a16:creationId xmlns:a16="http://schemas.microsoft.com/office/drawing/2014/main" id="{F1D27FCC-2CD6-3494-8A09-7A1B54F21662}"/>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25" name="Rounded Rectangle 24">
              <a:extLst>
                <a:ext uri="{FF2B5EF4-FFF2-40B4-BE49-F238E27FC236}">
                  <a16:creationId xmlns:a16="http://schemas.microsoft.com/office/drawing/2014/main" id="{3DF954B8-51DA-DBB6-21DD-8F1D4AE0FC44}"/>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800" dirty="0">
                  <a:solidFill>
                    <a:srgbClr val="FFFFFF"/>
                  </a:solidFill>
                  <a:latin typeface="ServiceNow Sans"/>
                  <a:cs typeface="ServiceNow Sans" panose="020B0504040101010104" pitchFamily="34" charset="77"/>
                </a:rPr>
                <a:t>Recruitment Workspace</a:t>
              </a:r>
              <a:endParaRPr lang="en-US" sz="1800" dirty="0">
                <a:solidFill>
                  <a:srgbClr val="FFFFFF"/>
                </a:solidFill>
                <a:latin typeface="ServiceNow Sans" panose="020B0504040101010104" pitchFamily="34" charset="77"/>
                <a:cs typeface="ServiceNow Sans" panose="020B0504040101010104" pitchFamily="34" charset="77"/>
              </a:endParaRPr>
            </a:p>
          </p:txBody>
        </p:sp>
      </p:grpSp>
      <p:sp>
        <p:nvSpPr>
          <p:cNvPr id="26" name="Rounded Rectangle 14">
            <a:extLst>
              <a:ext uri="{FF2B5EF4-FFF2-40B4-BE49-F238E27FC236}">
                <a16:creationId xmlns:a16="http://schemas.microsoft.com/office/drawing/2014/main" id="{BFD0CE78-E2B8-4592-3351-F0E9034EAF25}"/>
              </a:ext>
              <a:ext uri="{C183D7F6-B498-43B3-948B-1728B52AA6E4}">
                <adec:decorative xmlns:adec="http://schemas.microsoft.com/office/drawing/2017/decorative" val="1"/>
              </a:ext>
            </a:extLst>
          </p:cNvPr>
          <p:cNvSpPr/>
          <p:nvPr/>
        </p:nvSpPr>
        <p:spPr>
          <a:xfrm>
            <a:off x="3359305"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solidFill>
                <a:srgbClr val="FFFFFF"/>
              </a:solidFill>
              <a:latin typeface="ServiceNow Sans"/>
              <a:cs typeface="ServiceNow Sans" panose="020B0504040101010104" pitchFamily="34" charset="77"/>
            </a:endParaRPr>
          </a:p>
        </p:txBody>
      </p:sp>
      <p:sp>
        <p:nvSpPr>
          <p:cNvPr id="27" name="Rounded Rectangle 14">
            <a:extLst>
              <a:ext uri="{FF2B5EF4-FFF2-40B4-BE49-F238E27FC236}">
                <a16:creationId xmlns:a16="http://schemas.microsoft.com/office/drawing/2014/main" id="{A33F09AA-8BFA-6384-DFDF-57345C7A58A9}"/>
              </a:ext>
              <a:ext uri="{C183D7F6-B498-43B3-948B-1728B52AA6E4}">
                <adec:decorative xmlns:adec="http://schemas.microsoft.com/office/drawing/2017/decorative" val="1"/>
              </a:ext>
            </a:extLst>
          </p:cNvPr>
          <p:cNvSpPr/>
          <p:nvPr/>
        </p:nvSpPr>
        <p:spPr>
          <a:xfrm>
            <a:off x="6178617" y="2275217"/>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Wingdings" pitchFamily="2" charset="2"/>
              <a:buChar char="q"/>
            </a:pPr>
            <a:endParaRPr lang="en-US" sz="1400" dirty="0">
              <a:latin typeface="ServiceNow Sans"/>
            </a:endParaRPr>
          </a:p>
        </p:txBody>
      </p:sp>
      <p:sp>
        <p:nvSpPr>
          <p:cNvPr id="28" name="Rounded Rectangle 14">
            <a:extLst>
              <a:ext uri="{FF2B5EF4-FFF2-40B4-BE49-F238E27FC236}">
                <a16:creationId xmlns:a16="http://schemas.microsoft.com/office/drawing/2014/main" id="{42F1D3AE-800D-60B5-E9E5-907B810814A7}"/>
              </a:ext>
              <a:ext uri="{C183D7F6-B498-43B3-948B-1728B52AA6E4}">
                <adec:decorative xmlns:adec="http://schemas.microsoft.com/office/drawing/2017/decorative" val="1"/>
              </a:ext>
            </a:extLst>
          </p:cNvPr>
          <p:cNvSpPr/>
          <p:nvPr/>
        </p:nvSpPr>
        <p:spPr>
          <a:xfrm>
            <a:off x="8997458" y="2275216"/>
            <a:ext cx="2664905" cy="3841051"/>
          </a:xfrm>
          <a:prstGeom prst="roundRect">
            <a:avLst>
              <a:gd name="adj" fmla="val 7026"/>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solidFill>
                <a:srgbClr val="FFFFFF"/>
              </a:solidFill>
              <a:latin typeface="ServiceNow Sans" panose="020B0504040101010104" pitchFamily="34" charset="77"/>
              <a:cs typeface="ServiceNow Sans" panose="020B0504040101010104" pitchFamily="34" charset="77"/>
            </a:endParaRPr>
          </a:p>
        </p:txBody>
      </p:sp>
      <p:grpSp>
        <p:nvGrpSpPr>
          <p:cNvPr id="29" name="Group 28">
            <a:extLst>
              <a:ext uri="{FF2B5EF4-FFF2-40B4-BE49-F238E27FC236}">
                <a16:creationId xmlns:a16="http://schemas.microsoft.com/office/drawing/2014/main" id="{B95745C1-AB15-0990-8E88-2D63740C54A6}"/>
              </a:ext>
              <a:ext uri="{C183D7F6-B498-43B3-948B-1728B52AA6E4}">
                <adec:decorative xmlns:adec="http://schemas.microsoft.com/office/drawing/2017/decorative" val="1"/>
              </a:ext>
            </a:extLst>
          </p:cNvPr>
          <p:cNvGrpSpPr/>
          <p:nvPr/>
        </p:nvGrpSpPr>
        <p:grpSpPr>
          <a:xfrm>
            <a:off x="3366594" y="1420311"/>
            <a:ext cx="2661856" cy="734784"/>
            <a:chOff x="3998216" y="4807544"/>
            <a:chExt cx="2232977" cy="880287"/>
          </a:xfrm>
        </p:grpSpPr>
        <p:sp>
          <p:nvSpPr>
            <p:cNvPr id="30" name="Rounded Rectangle 17">
              <a:extLst>
                <a:ext uri="{FF2B5EF4-FFF2-40B4-BE49-F238E27FC236}">
                  <a16:creationId xmlns:a16="http://schemas.microsoft.com/office/drawing/2014/main" id="{E67816ED-EF62-27BE-5F19-1D9DAA7FCA9C}"/>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31" name="Rounded Rectangle 18">
              <a:extLst>
                <a:ext uri="{FF2B5EF4-FFF2-40B4-BE49-F238E27FC236}">
                  <a16:creationId xmlns:a16="http://schemas.microsoft.com/office/drawing/2014/main" id="{66007635-5A77-F1F3-0011-7AA98D8F022F}"/>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800" dirty="0">
                  <a:solidFill>
                    <a:srgbClr val="FFFFFF"/>
                  </a:solidFill>
                  <a:latin typeface="ServiceNow Sans"/>
                </a:rPr>
                <a:t>Interview Management</a:t>
              </a:r>
              <a:endParaRPr lang="en-US" dirty="0"/>
            </a:p>
          </p:txBody>
        </p:sp>
      </p:grpSp>
      <p:grpSp>
        <p:nvGrpSpPr>
          <p:cNvPr id="32" name="Group 31">
            <a:extLst>
              <a:ext uri="{FF2B5EF4-FFF2-40B4-BE49-F238E27FC236}">
                <a16:creationId xmlns:a16="http://schemas.microsoft.com/office/drawing/2014/main" id="{58AC047B-F59B-F338-B2C6-D9164E7DA7A0}"/>
              </a:ext>
              <a:ext uri="{C183D7F6-B498-43B3-948B-1728B52AA6E4}">
                <adec:decorative xmlns:adec="http://schemas.microsoft.com/office/drawing/2017/decorative" val="1"/>
              </a:ext>
            </a:extLst>
          </p:cNvPr>
          <p:cNvGrpSpPr/>
          <p:nvPr/>
        </p:nvGrpSpPr>
        <p:grpSpPr>
          <a:xfrm>
            <a:off x="6185858" y="1420311"/>
            <a:ext cx="2661856" cy="734784"/>
            <a:chOff x="3998216" y="4807544"/>
            <a:chExt cx="2232977" cy="880287"/>
          </a:xfrm>
        </p:grpSpPr>
        <p:sp>
          <p:nvSpPr>
            <p:cNvPr id="33" name="Rounded Rectangle 17">
              <a:extLst>
                <a:ext uri="{FF2B5EF4-FFF2-40B4-BE49-F238E27FC236}">
                  <a16:creationId xmlns:a16="http://schemas.microsoft.com/office/drawing/2014/main" id="{5EC7DA63-1EFF-6541-D8C2-F97E1AE898C1}"/>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34" name="Rounded Rectangle 18">
              <a:extLst>
                <a:ext uri="{FF2B5EF4-FFF2-40B4-BE49-F238E27FC236}">
                  <a16:creationId xmlns:a16="http://schemas.microsoft.com/office/drawing/2014/main" id="{82448686-5C95-47D5-B21B-6629BDC0CC92}"/>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cs typeface="ServiceNow Sans" panose="020B0504040101010104" pitchFamily="34" charset="77"/>
                </a:rPr>
                <a:t>Applicant Center</a:t>
              </a:r>
              <a:endParaRPr lang="en-US" sz="1600" dirty="0">
                <a:solidFill>
                  <a:srgbClr val="FFFFFF"/>
                </a:solidFill>
                <a:latin typeface="ServiceNow Sans" panose="020B0504040101010104" pitchFamily="34" charset="77"/>
                <a:cs typeface="ServiceNow Sans" panose="020B0504040101010104" pitchFamily="34" charset="77"/>
              </a:endParaRPr>
            </a:p>
          </p:txBody>
        </p:sp>
      </p:grpSp>
      <p:grpSp>
        <p:nvGrpSpPr>
          <p:cNvPr id="35" name="Group 34">
            <a:extLst>
              <a:ext uri="{FF2B5EF4-FFF2-40B4-BE49-F238E27FC236}">
                <a16:creationId xmlns:a16="http://schemas.microsoft.com/office/drawing/2014/main" id="{1917B055-EE54-1D5E-3EA0-77E116C68D38}"/>
              </a:ext>
              <a:ext uri="{C183D7F6-B498-43B3-948B-1728B52AA6E4}">
                <adec:decorative xmlns:adec="http://schemas.microsoft.com/office/drawing/2017/decorative" val="1"/>
              </a:ext>
            </a:extLst>
          </p:cNvPr>
          <p:cNvGrpSpPr/>
          <p:nvPr/>
        </p:nvGrpSpPr>
        <p:grpSpPr>
          <a:xfrm>
            <a:off x="9005123" y="1420312"/>
            <a:ext cx="2661856" cy="734784"/>
            <a:chOff x="3998216" y="4807544"/>
            <a:chExt cx="2232977" cy="880287"/>
          </a:xfrm>
        </p:grpSpPr>
        <p:sp>
          <p:nvSpPr>
            <p:cNvPr id="36" name="Rounded Rectangle 17">
              <a:extLst>
                <a:ext uri="{FF2B5EF4-FFF2-40B4-BE49-F238E27FC236}">
                  <a16:creationId xmlns:a16="http://schemas.microsoft.com/office/drawing/2014/main" id="{41CC3A9E-5787-FBD2-474B-88CBBA2E96C1}"/>
                </a:ext>
              </a:extLst>
            </p:cNvPr>
            <p:cNvSpPr/>
            <p:nvPr/>
          </p:nvSpPr>
          <p:spPr>
            <a:xfrm>
              <a:off x="3998216" y="4807544"/>
              <a:ext cx="2230631" cy="873458"/>
            </a:xfrm>
            <a:prstGeom prst="roundRect">
              <a:avLst>
                <a:gd name="adj" fmla="val 18256"/>
              </a:avLst>
            </a:prstGeom>
            <a:solidFill>
              <a:srgbClr val="06496B"/>
            </a:solidFill>
            <a:ln>
              <a:noFill/>
            </a:ln>
            <a:effectLst>
              <a:glow rad="1459236">
                <a:schemeClr val="accent5">
                  <a:alpha val="11000"/>
                </a:schemeClr>
              </a:glow>
              <a:outerShdw blurRad="1270000" dist="520756" dir="5520000" sx="111241" sy="111241" algn="ctr" rotWithShape="0">
                <a:schemeClr val="tx1">
                  <a:alpha val="84000"/>
                </a:schemeClr>
              </a:outerShdw>
            </a:effectLst>
            <a:scene3d>
              <a:camera prst="orthographicFront"/>
              <a:lightRig rig="sof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4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FFFFFF"/>
                </a:solidFill>
                <a:effectLst/>
                <a:uLnTx/>
                <a:uFillTx/>
                <a:latin typeface="ServiceNow Sans" panose="020B0504040101010104" pitchFamily="34" charset="77"/>
                <a:cs typeface="ServiceNow Sans" panose="020B0504040101010104" pitchFamily="34" charset="77"/>
              </a:endParaRPr>
            </a:p>
          </p:txBody>
        </p:sp>
        <p:sp>
          <p:nvSpPr>
            <p:cNvPr id="37" name="Rounded Rectangle 18">
              <a:extLst>
                <a:ext uri="{FF2B5EF4-FFF2-40B4-BE49-F238E27FC236}">
                  <a16:creationId xmlns:a16="http://schemas.microsoft.com/office/drawing/2014/main" id="{2629065D-2B02-8F57-4D91-D667947A903C}"/>
                </a:ext>
              </a:extLst>
            </p:cNvPr>
            <p:cNvSpPr/>
            <p:nvPr/>
          </p:nvSpPr>
          <p:spPr>
            <a:xfrm>
              <a:off x="3998216" y="4807550"/>
              <a:ext cx="2232977" cy="880281"/>
            </a:xfrm>
            <a:prstGeom prst="roundRect">
              <a:avLst>
                <a:gd name="adj" fmla="val 19103"/>
              </a:avLst>
            </a:prstGeom>
            <a:gradFill>
              <a:gsLst>
                <a:gs pos="26000">
                  <a:schemeClr val="tx1"/>
                </a:gs>
                <a:gs pos="99000">
                  <a:schemeClr val="bg1"/>
                </a:gs>
              </a:gsLst>
              <a:lin ang="16200000" scaled="0"/>
            </a:gradFill>
            <a:ln w="12700">
              <a:gradFill>
                <a:gsLst>
                  <a:gs pos="0">
                    <a:schemeClr val="accent1">
                      <a:lumMod val="5000"/>
                      <a:lumOff val="95000"/>
                    </a:schemeClr>
                  </a:gs>
                  <a:gs pos="100000">
                    <a:srgbClr val="D6EFFC"/>
                  </a:gs>
                </a:gsLst>
                <a:lin ang="5400000" scaled="1"/>
              </a:gradFill>
            </a:ln>
            <a:effectLst/>
            <a:scene3d>
              <a:camera prst="orthographicFront"/>
              <a:lightRig rig="flat" dir="t">
                <a:rot lat="0" lon="0" rev="6000000"/>
              </a:lightRig>
            </a:scene3d>
            <a:sp3d extrusionH="38100" prstMaterial="clear">
              <a:bevelT w="1016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dirty="0">
                  <a:solidFill>
                    <a:srgbClr val="FFFFFF"/>
                  </a:solidFill>
                  <a:latin typeface="ServiceNow Sans"/>
                </a:rPr>
                <a:t>Opportunity Marketplace</a:t>
              </a:r>
              <a:endParaRPr lang="en-US" sz="1600" dirty="0"/>
            </a:p>
          </p:txBody>
        </p:sp>
      </p:grpSp>
      <p:sp>
        <p:nvSpPr>
          <p:cNvPr id="3" name="Rectangle 2">
            <a:extLst>
              <a:ext uri="{FF2B5EF4-FFF2-40B4-BE49-F238E27FC236}">
                <a16:creationId xmlns:a16="http://schemas.microsoft.com/office/drawing/2014/main" id="{A8403A79-9090-BE98-0807-8EC8BFD7F1F5}"/>
              </a:ext>
            </a:extLst>
          </p:cNvPr>
          <p:cNvSpPr/>
          <p:nvPr/>
        </p:nvSpPr>
        <p:spPr>
          <a:xfrm>
            <a:off x="659757" y="2395959"/>
            <a:ext cx="2419109" cy="28473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rPr>
              <a:t>Interface</a:t>
            </a:r>
          </a:p>
          <a:p>
            <a:pPr marL="742315" lvl="1" indent="-285750">
              <a:buFont typeface="Wingdings" pitchFamily="2" charset="2"/>
              <a:buChar char="q"/>
            </a:pPr>
            <a:r>
              <a:rPr lang="en-US" sz="1400" dirty="0">
                <a:solidFill>
                  <a:srgbClr val="FFFFFF"/>
                </a:solidFill>
                <a:latin typeface="ServiceNow Sans"/>
              </a:rPr>
              <a:t>Landing page</a:t>
            </a:r>
          </a:p>
          <a:p>
            <a:pPr marL="742315" lvl="1" indent="-285750">
              <a:buFont typeface="Wingdings" pitchFamily="2" charset="2"/>
              <a:buChar char="q"/>
            </a:pPr>
            <a:r>
              <a:rPr lang="en-US" sz="1400" dirty="0">
                <a:solidFill>
                  <a:srgbClr val="FFFFFF"/>
                </a:solidFill>
                <a:latin typeface="ServiceNow Sans"/>
              </a:rPr>
              <a:t>Navigation menu</a:t>
            </a:r>
          </a:p>
          <a:p>
            <a:pPr marL="285750" indent="-285750">
              <a:buFont typeface="Wingdings" pitchFamily="2" charset="2"/>
              <a:buChar char="q"/>
            </a:pPr>
            <a:r>
              <a:rPr lang="en-US" sz="1400" dirty="0">
                <a:solidFill>
                  <a:srgbClr val="FFFFFF"/>
                </a:solidFill>
                <a:latin typeface="ServiceNow Sans"/>
              </a:rPr>
              <a:t>Requisitions</a:t>
            </a:r>
          </a:p>
          <a:p>
            <a:pPr marL="742315" lvl="1" indent="-285750">
              <a:buFont typeface="Wingdings" pitchFamily="2" charset="2"/>
              <a:buChar char="q"/>
            </a:pPr>
            <a:r>
              <a:rPr lang="en-US" sz="1400" dirty="0">
                <a:solidFill>
                  <a:srgbClr val="FFFFFF"/>
                </a:solidFill>
                <a:latin typeface="ServiceNow Sans"/>
              </a:rPr>
              <a:t>Form</a:t>
            </a:r>
          </a:p>
          <a:p>
            <a:pPr marL="742315" lvl="1" indent="-285750">
              <a:buFont typeface="Wingdings" pitchFamily="2" charset="2"/>
              <a:buChar char="q"/>
            </a:pPr>
            <a:r>
              <a:rPr lang="en-US" sz="1400" dirty="0">
                <a:solidFill>
                  <a:srgbClr val="FFFFFF"/>
                </a:solidFill>
                <a:latin typeface="ServiceNow Sans"/>
              </a:rPr>
              <a:t>Default list view</a:t>
            </a:r>
          </a:p>
          <a:p>
            <a:pPr marL="742315" lvl="1" indent="-285750">
              <a:buFont typeface="Wingdings" pitchFamily="2" charset="2"/>
              <a:buChar char="q"/>
            </a:pPr>
            <a:r>
              <a:rPr lang="en-US" sz="1400" dirty="0">
                <a:solidFill>
                  <a:srgbClr val="FFFFFF"/>
                </a:solidFill>
                <a:latin typeface="ServiceNow Sans"/>
              </a:rPr>
              <a:t>Related lists</a:t>
            </a:r>
          </a:p>
          <a:p>
            <a:pPr marL="742315" lvl="1" indent="-285750">
              <a:buFont typeface="Wingdings" pitchFamily="2" charset="2"/>
              <a:buChar char="q"/>
            </a:pPr>
            <a:r>
              <a:rPr lang="en-US" sz="1400" dirty="0">
                <a:solidFill>
                  <a:srgbClr val="FFFFFF"/>
                </a:solidFill>
                <a:latin typeface="ServiceNow Sans"/>
              </a:rPr>
              <a:t>Form UI actions</a:t>
            </a:r>
          </a:p>
          <a:p>
            <a:pPr marL="742315" lvl="1" indent="-285750">
              <a:buFont typeface="Wingdings" pitchFamily="2" charset="2"/>
              <a:buChar char="q"/>
            </a:pPr>
            <a:r>
              <a:rPr lang="en-US" sz="1400" dirty="0">
                <a:solidFill>
                  <a:srgbClr val="FFFFFF"/>
                </a:solidFill>
                <a:latin typeface="ServiceNow Sans"/>
              </a:rPr>
              <a:t>”On Hold” reasons</a:t>
            </a:r>
          </a:p>
          <a:p>
            <a:pPr marL="285750" indent="-285750">
              <a:buFont typeface="Wingdings" pitchFamily="2" charset="2"/>
              <a:buChar char="q"/>
            </a:pPr>
            <a:r>
              <a:rPr lang="en-US" sz="1400" dirty="0">
                <a:latin typeface="ServiceNow Sans"/>
              </a:rPr>
              <a:t>Recruiter knowledge base</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Talent acquisition dashboard</a:t>
            </a:r>
            <a:endParaRPr lang="en-US" sz="1400" dirty="0">
              <a:solidFill>
                <a:srgbClr val="000000"/>
              </a:solidFill>
              <a:latin typeface="ServiceNow Sans"/>
              <a:cs typeface="ServiceNow Sans" panose="020B0504040101010104" pitchFamily="34" charset="77"/>
            </a:endParaRPr>
          </a:p>
          <a:p>
            <a:endParaRPr lang="en-US" sz="1400" dirty="0">
              <a:latin typeface="ServiceNow Sans"/>
            </a:endParaRPr>
          </a:p>
        </p:txBody>
      </p:sp>
      <p:sp>
        <p:nvSpPr>
          <p:cNvPr id="5" name="Rectangle 4">
            <a:extLst>
              <a:ext uri="{FF2B5EF4-FFF2-40B4-BE49-F238E27FC236}">
                <a16:creationId xmlns:a16="http://schemas.microsoft.com/office/drawing/2014/main" id="{06950B6C-8E33-B46D-F43F-9ED07C9ADDEF}"/>
              </a:ext>
            </a:extLst>
          </p:cNvPr>
          <p:cNvSpPr/>
          <p:nvPr/>
        </p:nvSpPr>
        <p:spPr>
          <a:xfrm>
            <a:off x="3472405"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Outlook integration</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Zoom integration</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Scheduling preferences form</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Schedule interview form</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Interview phase templates</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Interview invite email templates</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Interview feedback form</a:t>
            </a:r>
          </a:p>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AI use case: Interview scheduling</a:t>
            </a:r>
          </a:p>
        </p:txBody>
      </p:sp>
      <p:sp>
        <p:nvSpPr>
          <p:cNvPr id="6" name="Rectangle 5">
            <a:extLst>
              <a:ext uri="{FF2B5EF4-FFF2-40B4-BE49-F238E27FC236}">
                <a16:creationId xmlns:a16="http://schemas.microsoft.com/office/drawing/2014/main" id="{448ED2CA-23D5-60B6-4751-92FD45E3AF30}"/>
              </a:ext>
            </a:extLst>
          </p:cNvPr>
          <p:cNvSpPr/>
          <p:nvPr/>
        </p:nvSpPr>
        <p:spPr>
          <a:xfrm>
            <a:off x="6278365"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rPr>
              <a:t>Portal</a:t>
            </a:r>
          </a:p>
          <a:p>
            <a:pPr marL="742315" lvl="1" indent="-285750">
              <a:buFont typeface="Wingdings" pitchFamily="2" charset="2"/>
              <a:buChar char="q"/>
            </a:pPr>
            <a:r>
              <a:rPr lang="en-US" sz="1400" dirty="0">
                <a:solidFill>
                  <a:srgbClr val="FFFFFF"/>
                </a:solidFill>
                <a:latin typeface="ServiceNow Sans"/>
              </a:rPr>
              <a:t>Branding</a:t>
            </a:r>
          </a:p>
          <a:p>
            <a:pPr marL="742315" lvl="1" indent="-285750">
              <a:buFont typeface="Wingdings" pitchFamily="2" charset="2"/>
              <a:buChar char="q"/>
            </a:pPr>
            <a:r>
              <a:rPr lang="en-US" sz="1400" dirty="0">
                <a:solidFill>
                  <a:srgbClr val="FFFFFF"/>
                </a:solidFill>
                <a:latin typeface="ServiceNow Sans"/>
              </a:rPr>
              <a:t>Header</a:t>
            </a:r>
          </a:p>
          <a:p>
            <a:pPr marL="742315" lvl="1" indent="-285750">
              <a:buFont typeface="Wingdings" pitchFamily="2" charset="2"/>
              <a:buChar char="q"/>
            </a:pPr>
            <a:r>
              <a:rPr lang="en-US" sz="1400" dirty="0">
                <a:solidFill>
                  <a:srgbClr val="FFFFFF"/>
                </a:solidFill>
                <a:latin typeface="ServiceNow Sans"/>
              </a:rPr>
              <a:t>Footer</a:t>
            </a:r>
          </a:p>
          <a:p>
            <a:pPr marL="742315" lvl="1" indent="-285750">
              <a:buFont typeface="Wingdings" pitchFamily="2" charset="2"/>
              <a:buChar char="q"/>
            </a:pPr>
            <a:r>
              <a:rPr lang="en-US" sz="1400" dirty="0">
                <a:solidFill>
                  <a:srgbClr val="FFFFFF"/>
                </a:solidFill>
                <a:latin typeface="ServiceNow Sans"/>
              </a:rPr>
              <a:t>Content &amp; campaign</a:t>
            </a:r>
          </a:p>
          <a:p>
            <a:pPr marL="285750" indent="-285750">
              <a:buFont typeface="Wingdings" pitchFamily="2" charset="2"/>
              <a:buChar char="q"/>
            </a:pPr>
            <a:r>
              <a:rPr lang="en-US" sz="1400" dirty="0">
                <a:solidFill>
                  <a:srgbClr val="FFFFFF"/>
                </a:solidFill>
                <a:latin typeface="ServiceNow Sans"/>
              </a:rPr>
              <a:t>“No-login experience” with Time limited authentication</a:t>
            </a:r>
          </a:p>
          <a:p>
            <a:pPr marL="285750" indent="-285750">
              <a:buFont typeface="Wingdings" pitchFamily="2" charset="2"/>
              <a:buChar char="q"/>
            </a:pPr>
            <a:r>
              <a:rPr lang="en-US" sz="1400" dirty="0">
                <a:latin typeface="ServiceNow Sans"/>
              </a:rPr>
              <a:t>Applicant knowledge base</a:t>
            </a:r>
          </a:p>
        </p:txBody>
      </p:sp>
      <p:sp>
        <p:nvSpPr>
          <p:cNvPr id="7" name="Rectangle 6">
            <a:extLst>
              <a:ext uri="{FF2B5EF4-FFF2-40B4-BE49-F238E27FC236}">
                <a16:creationId xmlns:a16="http://schemas.microsoft.com/office/drawing/2014/main" id="{B5E11BEE-182F-8F53-1F41-01385C968F06}"/>
              </a:ext>
            </a:extLst>
          </p:cNvPr>
          <p:cNvSpPr/>
          <p:nvPr/>
        </p:nvSpPr>
        <p:spPr>
          <a:xfrm>
            <a:off x="9097206" y="2395959"/>
            <a:ext cx="2465408" cy="217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q"/>
            </a:pPr>
            <a:r>
              <a:rPr lang="en-US" sz="1400" dirty="0">
                <a:solidFill>
                  <a:srgbClr val="FFFFFF"/>
                </a:solidFill>
                <a:latin typeface="ServiceNow Sans"/>
                <a:cs typeface="ServiceNow Sans" panose="020B0504040101010104" pitchFamily="34" charset="77"/>
              </a:rPr>
              <a:t>Opportunity types</a:t>
            </a:r>
            <a:endParaRPr lang="en-US" sz="1400" dirty="0">
              <a:solidFill>
                <a:srgbClr val="FFFFFF"/>
              </a:solidFill>
              <a:latin typeface="ServiceNow Sans" panose="020B0504040101010104" pitchFamily="34" charset="77"/>
              <a:cs typeface="ServiceNow Sans" panose="020B0504040101010104" pitchFamily="34" charset="77"/>
            </a:endParaRPr>
          </a:p>
        </p:txBody>
      </p:sp>
    </p:spTree>
    <p:extLst>
      <p:ext uri="{BB962C8B-B14F-4D97-AF65-F5344CB8AC3E}">
        <p14:creationId xmlns:p14="http://schemas.microsoft.com/office/powerpoint/2010/main" val="5287860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erviceNow Corp Template">
  <a:themeElements>
    <a:clrScheme name="ServiceNow Corporate Template">
      <a:dk1>
        <a:srgbClr val="000000"/>
      </a:dk1>
      <a:lt1>
        <a:srgbClr val="FFFFFF"/>
      </a:lt1>
      <a:dk2>
        <a:srgbClr val="032D42"/>
      </a:dk2>
      <a:lt2>
        <a:srgbClr val="FFFFFF"/>
      </a:lt2>
      <a:accent1>
        <a:srgbClr val="63DF4E"/>
      </a:accent1>
      <a:accent2>
        <a:srgbClr val="DEFFD9"/>
      </a:accent2>
      <a:accent3>
        <a:srgbClr val="52B8FF"/>
      </a:accent3>
      <a:accent4>
        <a:srgbClr val="C2E6FF"/>
      </a:accent4>
      <a:accent5>
        <a:srgbClr val="7661FF"/>
      </a:accent5>
      <a:accent6>
        <a:srgbClr val="BDBAFD"/>
      </a:accent6>
      <a:hlink>
        <a:srgbClr val="63DF4E"/>
      </a:hlink>
      <a:folHlink>
        <a:srgbClr val="52B8FF"/>
      </a:folHlink>
    </a:clrScheme>
    <a:fontScheme name="Custom 1">
      <a:majorFont>
        <a:latin typeface="ServiceNow Sans Bold"/>
        <a:ea typeface=""/>
        <a:cs typeface=""/>
      </a:majorFont>
      <a:minorFont>
        <a:latin typeface="ServiceNow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b="0" i="0" dirty="0" err="1" smtClean="0">
            <a:solidFill>
              <a:schemeClr val="bg1"/>
            </a:solidFill>
            <a:latin typeface="ServiceNow Sans Light" panose="020B0404040101010104" pitchFamily="34" charset="77"/>
            <a:cs typeface="ServiceNow Sans Light" panose="020B0404040101010104" pitchFamily="34" charset="77"/>
          </a:defRPr>
        </a:defPPr>
      </a:lstStyle>
    </a:txDef>
  </a:objectDefaults>
  <a:extraClrSchemeLst/>
  <a:custClrLst>
    <a:custClr name="Light Wasabi">
      <a:srgbClr val="DEFFD9"/>
    </a:custClr>
    <a:custClr name="Light Blue">
      <a:srgbClr val="C2E6FF"/>
    </a:custClr>
    <a:custClr name="Light Indigo">
      <a:srgbClr val="BDBAFD"/>
    </a:custClr>
    <a:custClr name="Light Purple">
      <a:srgbClr val="DEC3F7"/>
    </a:custClr>
    <a:custClr name="Bright Orange">
      <a:srgbClr val="FFBC39"/>
    </a:custClr>
    <a:custClr name="BLANK">
      <a:srgbClr val="FFFFFF"/>
    </a:custClr>
    <a:custClr name="BLANK">
      <a:srgbClr val="FFFFFF"/>
    </a:custClr>
    <a:custClr name="BLANK">
      <a:srgbClr val="FFFFFF"/>
    </a:custClr>
    <a:custClr name="BLANK">
      <a:srgbClr val="FFFFFF"/>
    </a:custClr>
    <a:custClr name="BLANK">
      <a:srgbClr val="FFFFFF"/>
    </a:custClr>
    <a:custClr name="Wasabi Green">
      <a:srgbClr val="63DF4E"/>
    </a:custClr>
    <a:custClr name="Blue">
      <a:srgbClr val="52B8FF"/>
    </a:custClr>
    <a:custClr name="Indigo">
      <a:srgbClr val="7661FF"/>
    </a:custClr>
    <a:custClr name="Purple">
      <a:srgbClr val="BF71F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Mid Wasabi">
      <a:srgbClr val="005F1E"/>
    </a:custClr>
    <a:custClr name="Mid Blue">
      <a:srgbClr val="035D99"/>
    </a:custClr>
    <a:custClr name="Mid Indigo">
      <a:srgbClr val="3C288D"/>
    </a:custClr>
    <a:custClr name="Mid Purple">
      <a:srgbClr val="412C58"/>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Wasabi">
      <a:srgbClr val="003310"/>
    </a:custClr>
    <a:custClr name="Infinite Blue">
      <a:srgbClr val="032D42"/>
    </a:custClr>
    <a:custClr name="Dark Indigo ">
      <a:srgbClr val="14103B"/>
    </a:custClr>
    <a:custClr name="Dark Purple">
      <a:srgbClr val="1E012E"/>
    </a:custClr>
  </a:custClrLst>
  <a:extLst>
    <a:ext uri="{05A4C25C-085E-4340-85A3-A5531E510DB2}">
      <thm15:themeFamily xmlns:thm15="http://schemas.microsoft.com/office/thememl/2012/main" name="2_ServiceNow Knowledge25" id="{BF2BC73B-F33C-4A9C-955C-2C3C175FC480}" vid="{87623030-5D14-4F80-853B-0B110DDEC080}"/>
    </a:ext>
  </a:extLst>
</a:theme>
</file>

<file path=ppt/theme/theme2.xml><?xml version="1.0" encoding="utf-8"?>
<a:theme xmlns:a="http://schemas.openxmlformats.org/drawingml/2006/main" name="Office Theme">
  <a:themeElements>
    <a:clrScheme name="ServiceNow Corporate Template">
      <a:dk1>
        <a:srgbClr val="FFFFFF"/>
      </a:dk1>
      <a:lt1>
        <a:srgbClr val="000000"/>
      </a:lt1>
      <a:dk2>
        <a:srgbClr val="FFFFFF"/>
      </a:dk2>
      <a:lt2>
        <a:srgbClr val="042D42"/>
      </a:lt2>
      <a:accent1>
        <a:srgbClr val="63DF4E"/>
      </a:accent1>
      <a:accent2>
        <a:srgbClr val="52B8FF"/>
      </a:accent2>
      <a:accent3>
        <a:srgbClr val="7661FF"/>
      </a:accent3>
      <a:accent4>
        <a:srgbClr val="BF71F2"/>
      </a:accent4>
      <a:accent5>
        <a:srgbClr val="009156"/>
      </a:accent5>
      <a:accent6>
        <a:srgbClr val="021829"/>
      </a:accent6>
      <a:hlink>
        <a:srgbClr val="52B8FF"/>
      </a:hlink>
      <a:folHlink>
        <a:srgbClr val="009156"/>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Custom 3">
      <a:dk1>
        <a:srgbClr val="293E40"/>
      </a:dk1>
      <a:lt1>
        <a:srgbClr val="FFFFFF"/>
      </a:lt1>
      <a:dk2>
        <a:srgbClr val="D1232B"/>
      </a:dk2>
      <a:lt2>
        <a:srgbClr val="F7F7F7"/>
      </a:lt2>
      <a:accent1>
        <a:srgbClr val="81B5A1"/>
      </a:accent1>
      <a:accent2>
        <a:srgbClr val="68A1AF"/>
      </a:accent2>
      <a:accent3>
        <a:srgbClr val="8686BC"/>
      </a:accent3>
      <a:accent4>
        <a:srgbClr val="E5D87C"/>
      </a:accent4>
      <a:accent5>
        <a:srgbClr val="E8A679"/>
      </a:accent5>
      <a:accent6>
        <a:srgbClr val="DB8F8F"/>
      </a:accent6>
      <a:hlink>
        <a:srgbClr val="68A1AF"/>
      </a:hlink>
      <a:folHlink>
        <a:srgbClr val="81B5A1"/>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 xmlns="8cf1a7ba-b6ee-4e80-9050-b6fe5aa8ae94" xsi:nil="true"/>
    <lcf76f155ced4ddcb4097134ff3c332f xmlns="8cf1a7ba-b6ee-4e80-9050-b6fe5aa8ae94">
      <Terms xmlns="http://schemas.microsoft.com/office/infopath/2007/PartnerControls"/>
    </lcf76f155ced4ddcb4097134ff3c332f>
    <TaxCatchAll xmlns="5765d20c-cc6d-4e41-8381-2397870b1c1d" xsi:nil="true"/>
    <SharedWithUsers xmlns="5765d20c-cc6d-4e41-8381-2397870b1c1d">
      <UserInfo>
        <DisplayName>Matthew Denton</DisplayName>
        <AccountId>70</AccountId>
        <AccountType/>
      </UserInfo>
    </SharedWithUsers>
    <ModifiedthisRelease xmlns="8cf1a7ba-b6ee-4e80-9050-b6fe5aa8ae94">false</ModifiedthisRelease>
    <Status xmlns="8cf1a7ba-b6ee-4e80-9050-b6fe5aa8ae94" xsi:nil="true"/>
    <ReleaseDate xmlns="8cf1a7ba-b6ee-4e80-9050-b6fe5aa8ae94" xsi:nil="true"/>
    <AssetType xmlns="8cf1a7ba-b6ee-4e80-9050-b6fe5aa8ae94" xsi:nil="true"/>
    <MostDownloaded_x002f_Viewed xmlns="8cf1a7ba-b6ee-4e80-9050-b6fe5aa8ae94" xsi:nil="true"/>
    <AssetStatus xmlns="8cf1a7ba-b6ee-4e80-9050-b6fe5aa8ae94" xsi:nil="true"/>
    <PercentComplete xmlns="8cf1a7ba-b6ee-4e80-9050-b6fe5aa8ae94" xsi:nil="true"/>
    <Contributor xmlns="8cf1a7ba-b6ee-4e80-9050-b6fe5aa8ae94">
      <UserInfo>
        <DisplayName/>
        <AccountId xsi:nil="true"/>
        <AccountType/>
      </UserInfo>
    </Contributor>
    <DatePublished xmlns="8cf1a7ba-b6ee-4e80-9050-b6fe5aa8ae94" xsi:nil="true"/>
    <EndofLifeDate xmlns="8cf1a7ba-b6ee-4e80-9050-b6fe5aa8ae94" xsi:nil="true"/>
    <ReleaseType xmlns="8cf1a7ba-b6ee-4e80-9050-b6fe5aa8ae94" xsi:nil="true"/>
    <Reviewer xmlns="8cf1a7ba-b6ee-4e80-9050-b6fe5aa8ae94">
      <UserInfo>
        <DisplayName/>
        <AccountId xsi:nil="true"/>
        <AccountType/>
      </UserInfo>
    </Reviewer>
    <AssetNumber xmlns="8cf1a7ba-b6ee-4e80-9050-b6fe5aa8ae94" xsi:nil="true"/>
    <h8aae4bc20e4403eb267d6a80c469c70 xmlns="8cf1a7ba-b6ee-4e80-9050-b6fe5aa8ae94">
      <Terms xmlns="http://schemas.microsoft.com/office/infopath/2007/PartnerControls"/>
    </h8aae4bc20e4403eb267d6a80c469c70>
    <StatusCompleted xmlns="8cf1a7ba-b6ee-4e80-9050-b6fe5aa8ae94">false</StatusCompleted>
    <Active_x003f_ xmlns="8cf1a7ba-b6ee-4e80-9050-b6fe5aa8ae94" xsi:nil="true"/>
    <IsitcorrectinNowCreate_x003f_ xmlns="8cf1a7ba-b6ee-4e80-9050-b6fe5aa8ae94" xsi:nil="true"/>
    <o2fn xmlns="8cf1a7ba-b6ee-4e80-9050-b6fe5aa8ae94" xsi:nil="true"/>
    <NotesandComments xmlns="8cf1a7ba-b6ee-4e80-9050-b6fe5aa8ae94" xsi:nil="true"/>
    <Priority xmlns="8cf1a7ba-b6ee-4e80-9050-b6fe5aa8ae94" xsi:nil="true"/>
    <CheckedOutBy xmlns="8cf1a7ba-b6ee-4e80-9050-b6fe5aa8ae9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611B061FAB3F74D9AABA6A00675F13D" ma:contentTypeVersion="48" ma:contentTypeDescription="Create a new document." ma:contentTypeScope="" ma:versionID="f84ac5c8acac0dfecb38cace8ed617a9">
  <xsd:schema xmlns:xsd="http://www.w3.org/2001/XMLSchema" xmlns:xs="http://www.w3.org/2001/XMLSchema" xmlns:p="http://schemas.microsoft.com/office/2006/metadata/properties" xmlns:ns2="5765d20c-cc6d-4e41-8381-2397870b1c1d" xmlns:ns3="8cf1a7ba-b6ee-4e80-9050-b6fe5aa8ae94" targetNamespace="http://schemas.microsoft.com/office/2006/metadata/properties" ma:root="true" ma:fieldsID="2efacc19e6487631901ffdeda7402058" ns2:_="" ns3:_="">
    <xsd:import namespace="5765d20c-cc6d-4e41-8381-2397870b1c1d"/>
    <xsd:import namespace="8cf1a7ba-b6ee-4e80-9050-b6fe5aa8ae9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o2fn" minOccurs="0"/>
                <xsd:element ref="ns3:h8aae4bc20e4403eb267d6a80c469c70" minOccurs="0"/>
                <xsd:element ref="ns2:TaxCatchAll" minOccurs="0"/>
                <xsd:element ref="ns3:Contributor" minOccurs="0"/>
                <xsd:element ref="ns3:MediaLengthInSeconds" minOccurs="0"/>
                <xsd:element ref="ns3:NotesandComments" minOccurs="0"/>
                <xsd:element ref="ns3:Status" minOccurs="0"/>
                <xsd:element ref="ns3:Reviewer" minOccurs="0"/>
                <xsd:element ref="ns3:Priority" minOccurs="0"/>
                <xsd:element ref="ns3:PercentComplete" minOccurs="0"/>
                <xsd:element ref="ns3:ReleaseDate" minOccurs="0"/>
                <xsd:element ref="ns3:ReleaseType" minOccurs="0"/>
                <xsd:element ref="ns3:Active_x003f_" minOccurs="0"/>
                <xsd:element ref="ns3:ModifiedthisRelease" minOccurs="0"/>
                <xsd:element ref="ns3:AssetType" minOccurs="0"/>
                <xsd:element ref="ns3:MostDownloaded_x002f_Viewed" minOccurs="0"/>
                <xsd:element ref="ns3:AssetNumber" minOccurs="0"/>
                <xsd:element ref="ns3:AssetStatus" minOccurs="0"/>
                <xsd:element ref="ns3:IsitcorrectinNowCreate_x003f_" minOccurs="0"/>
                <xsd:element ref="ns3:Notes" minOccurs="0"/>
                <xsd:element ref="ns3:CheckedOutBy" minOccurs="0"/>
                <xsd:element ref="ns3:DatePublished" minOccurs="0"/>
                <xsd:element ref="ns3:EndofLifeDate" minOccurs="0"/>
                <xsd:element ref="ns3:lcf76f155ced4ddcb4097134ff3c332f" minOccurs="0"/>
                <xsd:element ref="ns3:MediaServiceObjectDetectorVersions" minOccurs="0"/>
                <xsd:element ref="ns3:MediaServiceSearchProperties" minOccurs="0"/>
                <xsd:element ref="ns3:StatusCompleted"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65d20c-cc6d-4e41-8381-2397870b1c1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223753e-009a-43e5-80ba-5ca0a9c94643}" ma:internalName="TaxCatchAll" ma:showField="CatchAllData" ma:web="5765d20c-cc6d-4e41-8381-2397870b1c1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f1a7ba-b6ee-4e80-9050-b6fe5aa8ae9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o2fn" ma:index="19" nillable="true" ma:displayName="Text" ma:internalName="o2fn">
      <xsd:simpleType>
        <xsd:restriction base="dms:Text"/>
      </xsd:simpleType>
    </xsd:element>
    <xsd:element name="h8aae4bc20e4403eb267d6a80c469c70" ma:index="21" nillable="true" ma:taxonomy="true" ma:internalName="h8aae4bc20e4403eb267d6a80c469c70" ma:taxonomyFieldName="Meta" ma:displayName="Meta" ma:default="" ma:fieldId="{18aae4bc-20e4-403e-b267-d6a80c469c70}" ma:taxonomyMulti="true" ma:sspId="2e27af23-84c9-4733-8bcb-da60bbaae232" ma:termSetId="876d6b10-82dc-4f83-89d0-73844b4744c1" ma:anchorId="00000000-0000-0000-0000-000000000000" ma:open="true" ma:isKeyword="false">
      <xsd:complexType>
        <xsd:sequence>
          <xsd:element ref="pc:Terms" minOccurs="0" maxOccurs="1"/>
        </xsd:sequence>
      </xsd:complexType>
    </xsd:element>
    <xsd:element name="Contributor" ma:index="23" nillable="true" ma:displayName="Contributor" ma:format="Dropdown" ma:list="UserInfo" ma:SharePointGroup="0" ma:internalName="Contributo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4" nillable="true" ma:displayName="Length (seconds)" ma:internalName="MediaLengthInSeconds" ma:readOnly="true">
      <xsd:simpleType>
        <xsd:restriction base="dms:Unknown"/>
      </xsd:simpleType>
    </xsd:element>
    <xsd:element name="NotesandComments" ma:index="25" nillable="true" ma:displayName="Notes and Comments" ma:format="Dropdown" ma:internalName="NotesandComments">
      <xsd:simpleType>
        <xsd:restriction base="dms:Note">
          <xsd:maxLength value="255"/>
        </xsd:restriction>
      </xsd:simpleType>
    </xsd:element>
    <xsd:element name="Status" ma:index="26" nillable="true" ma:displayName="Status" ma:format="RadioButtons" ma:internalName="Status">
      <xsd:simpleType>
        <xsd:restriction base="dms:Choice">
          <xsd:enumeration value="In Progress"/>
          <xsd:enumeration value="In Review"/>
          <xsd:enumeration value="Ready to Load for Release"/>
          <xsd:enumeration value="Not Started"/>
          <xsd:enumeration value="At Risk"/>
          <xsd:enumeration value="Loaded in NowCreate"/>
          <xsd:enumeration value="No Changes Required"/>
          <xsd:enumeration value="No Status"/>
          <xsd:enumeration value="Retired"/>
          <xsd:enumeration value="Cancelled"/>
          <xsd:enumeration value="Ready to Publish - Sent to Content Studio"/>
          <xsd:enumeration value="Reviewed by PM - Ready to Publish"/>
        </xsd:restriction>
      </xsd:simpleType>
    </xsd:element>
    <xsd:element name="Reviewer" ma:index="27" nillable="true" ma:displayName="Reviewer" ma:format="Dropdown" ma:list="UserInfo" ma:SharePointGroup="0" ma:internalName="Review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iority" ma:index="28" nillable="true" ma:displayName="Priority" ma:format="Dropdown" ma:internalName="Priority">
      <xsd:simpleType>
        <xsd:restriction base="dms:Choice">
          <xsd:enumeration value="Low, No release changes"/>
          <xsd:enumeration value="Med"/>
          <xsd:enumeration value="High, Release Updates Required"/>
          <xsd:enumeration value="No updates needed"/>
        </xsd:restriction>
      </xsd:simpleType>
    </xsd:element>
    <xsd:element name="PercentComplete" ma:index="29" nillable="true" ma:displayName="Percent Complete" ma:format="Dropdown" ma:internalName="PercentComplete">
      <xsd:simpleType>
        <xsd:restriction base="dms:Choice">
          <xsd:enumeration value="0"/>
          <xsd:enumeration value="25%"/>
          <xsd:enumeration value="50%"/>
          <xsd:enumeration value="75%"/>
          <xsd:enumeration value="100%"/>
        </xsd:restriction>
      </xsd:simpleType>
    </xsd:element>
    <xsd:element name="ReleaseDate" ma:index="30" nillable="true" ma:displayName="Release Date" ma:format="DateOnly" ma:indexed="true" ma:internalName="ReleaseDate">
      <xsd:simpleType>
        <xsd:restriction base="dms:DateTime"/>
      </xsd:simpleType>
    </xsd:element>
    <xsd:element name="ReleaseType" ma:index="31" nillable="true" ma:displayName="Release Type" ma:description="The type of release." ma:format="Dropdown" ma:internalName="ReleaseType">
      <xsd:simpleType>
        <xsd:restriction base="dms:Choice">
          <xsd:enumeration value="Family"/>
          <xsd:enumeration value="Store"/>
        </xsd:restriction>
      </xsd:simpleType>
    </xsd:element>
    <xsd:element name="Active_x003f_" ma:index="32" nillable="true" ma:displayName="Active?" ma:description="Whether the folder is active i.e. does it have assets that are being updated within it" ma:format="Dropdown" ma:internalName="Active_x003f_">
      <xsd:simpleType>
        <xsd:restriction base="dms:Choice">
          <xsd:enumeration value="Inactive"/>
          <xsd:enumeration value="Active"/>
          <xsd:enumeration value="Choice 3"/>
        </xsd:restriction>
      </xsd:simpleType>
    </xsd:element>
    <xsd:element name="ModifiedthisRelease" ma:index="33" nillable="true" ma:displayName="Modified this Release" ma:default="0" ma:description="Have the documents/contents of this folder been modified since the last release?&#10;This helps understand what docs need to be carried over to the latest release folder" ma:format="Dropdown" ma:internalName="ModifiedthisRelease">
      <xsd:simpleType>
        <xsd:restriction base="dms:Boolean"/>
      </xsd:simpleType>
    </xsd:element>
    <xsd:element name="AssetType" ma:index="34" nillable="true" ma:displayName="Asset Type" ma:format="Dropdown" ma:internalName="AssetType">
      <xsd:simpleType>
        <xsd:restriction base="dms:Choice">
          <xsd:enumeration value="Product Architecture Blueprint"/>
          <xsd:enumeration value="Customer Workshop Preparation"/>
          <xsd:enumeration value="Product Training Guidance"/>
          <xsd:enumeration value="Kickoff Presentation"/>
          <xsd:enumeration value="Process Guide"/>
          <xsd:enumeration value="Process Workshop Presentation"/>
          <xsd:enumeration value="Recommended KPIs"/>
          <xsd:enumeration value="Scoping Guide"/>
          <xsd:enumeration value="Product Skill Profiles"/>
          <xsd:enumeration value="Starter Stories and Story Tests"/>
          <xsd:enumeration value="Typical Challenges and Remediation"/>
          <xsd:enumeration value="Deployment Guide"/>
          <xsd:enumeration value="Product and Process Overview"/>
          <xsd:enumeration value="Scoping Statement"/>
          <xsd:enumeration value="Skills &amp; Training Guidance"/>
          <xsd:enumeration value="Use Case Test Guidance"/>
          <xsd:enumeration value="Whitepaper"/>
          <xsd:enumeration value="Supporting Document (Unpublished)"/>
        </xsd:restriction>
      </xsd:simpleType>
    </xsd:element>
    <xsd:element name="MostDownloaded_x002f_Viewed" ma:index="35" nillable="true" ma:displayName="Most Downloaded/Viewed" ma:format="Dropdown" ma:internalName="MostDownloaded_x002f_Viewed">
      <xsd:simpleType>
        <xsd:restriction base="dms:Text">
          <xsd:maxLength value="255"/>
        </xsd:restriction>
      </xsd:simpleType>
    </xsd:element>
    <xsd:element name="AssetNumber" ma:index="36" nillable="true" ma:displayName="Asset Number" ma:format="Dropdown" ma:internalName="AssetNumber">
      <xsd:simpleType>
        <xsd:restriction base="dms:Text">
          <xsd:maxLength value="255"/>
        </xsd:restriction>
      </xsd:simpleType>
    </xsd:element>
    <xsd:element name="AssetStatus" ma:index="38" nillable="true" ma:displayName="Asset Status" ma:format="Dropdown" ma:internalName="AssetStatus">
      <xsd:simpleType>
        <xsd:restriction base="dms:Choice">
          <xsd:enumeration value="In Progress"/>
          <xsd:enumeration value="In Review"/>
          <xsd:enumeration value="Loaded in Now Create"/>
          <xsd:enumeration value="Ready to Load"/>
        </xsd:restriction>
      </xsd:simpleType>
    </xsd:element>
    <xsd:element name="IsitcorrectinNowCreate_x003f_" ma:index="39" nillable="true" ma:displayName="Is it correct in Now Create? " ma:format="Dropdown" ma:internalName="IsitcorrectinNowCreate_x003f_">
      <xsd:simpleType>
        <xsd:restriction base="dms:Choice">
          <xsd:enumeration value="Yes"/>
          <xsd:enumeration value="No"/>
          <xsd:enumeration value="N/A"/>
        </xsd:restriction>
      </xsd:simpleType>
    </xsd:element>
    <xsd:element name="Notes" ma:index="40" nillable="true" ma:displayName="Notes" ma:format="Dropdown" ma:internalName="Notes">
      <xsd:simpleType>
        <xsd:restriction base="dms:Note"/>
      </xsd:simpleType>
    </xsd:element>
    <xsd:element name="CheckedOutBy" ma:index="41" nillable="true" ma:displayName="Checked Out By" ma:format="Dropdown" ma:internalName="CheckedOutBy">
      <xsd:simpleType>
        <xsd:restriction base="dms:Choice">
          <xsd:enumeration value="Scott"/>
          <xsd:enumeration value="Chris"/>
          <xsd:enumeration value="Sai"/>
          <xsd:enumeration value="Syed"/>
          <xsd:enumeration value="Not checked out"/>
        </xsd:restriction>
      </xsd:simpleType>
    </xsd:element>
    <xsd:element name="DatePublished" ma:index="42" nillable="true" ma:displayName="Date Published" ma:format="DateOnly" ma:internalName="DatePublished">
      <xsd:simpleType>
        <xsd:restriction base="dms:DateTime"/>
      </xsd:simpleType>
    </xsd:element>
    <xsd:element name="EndofLifeDate" ma:index="43" nillable="true" ma:displayName="End of Life Date" ma:format="DateOnly" ma:internalName="EndofLifeDate">
      <xsd:simpleType>
        <xsd:restriction base="dms:DateTime"/>
      </xsd:simpleType>
    </xsd:element>
    <xsd:element name="lcf76f155ced4ddcb4097134ff3c332f" ma:index="45" nillable="true" ma:taxonomy="true" ma:internalName="lcf76f155ced4ddcb4097134ff3c332f" ma:taxonomyFieldName="MediaServiceImageTags" ma:displayName="Image Tags" ma:readOnly="false" ma:fieldId="{5cf76f15-5ced-4ddc-b409-7134ff3c332f}" ma:taxonomyMulti="true" ma:sspId="2e27af23-84c9-4733-8bcb-da60bbaae2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47" nillable="true" ma:displayName="MediaServiceSearchProperties" ma:hidden="true" ma:internalName="MediaServiceSearchProperties" ma:readOnly="true">
      <xsd:simpleType>
        <xsd:restriction base="dms:Note"/>
      </xsd:simpleType>
    </xsd:element>
    <xsd:element name="StatusCompleted" ma:index="48" nillable="true" ma:displayName="Status Completed" ma:default="0" ma:description="Yes" ma:format="Dropdown" ma:internalName="StatusCompleted">
      <xsd:simpleType>
        <xsd:restriction base="dms:Boolean"/>
      </xsd:simpleType>
    </xsd:element>
    <xsd:element name="MediaServiceBillingMetadata" ma:index="4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237041-D453-4DA6-9826-1F71C15A791D}">
  <ds:schemaRefs>
    <ds:schemaRef ds:uri="http://purl.org/dc/elements/1.1/"/>
    <ds:schemaRef ds:uri="http://purl.org/dc/terms/"/>
    <ds:schemaRef ds:uri="8cf1a7ba-b6ee-4e80-9050-b6fe5aa8ae94"/>
    <ds:schemaRef ds:uri="http://schemas.microsoft.com/office/2006/metadata/properties"/>
    <ds:schemaRef ds:uri="http://schemas.microsoft.com/office/2006/documentManagement/types"/>
    <ds:schemaRef ds:uri="http://schemas.openxmlformats.org/package/2006/metadata/core-properties"/>
    <ds:schemaRef ds:uri="5765d20c-cc6d-4e41-8381-2397870b1c1d"/>
    <ds:schemaRef ds:uri="http://www.w3.org/XML/1998/namespace"/>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715FE021-F15E-4DE1-AB3B-4033F0BE5097}">
  <ds:schemaRefs>
    <ds:schemaRef ds:uri="5765d20c-cc6d-4e41-8381-2397870b1c1d"/>
    <ds:schemaRef ds:uri="8cf1a7ba-b6ee-4e80-9050-b6fe5aa8ae9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17D2F6-C12C-47DD-B7BB-BBD8EB9EFD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3</TotalTime>
  <Words>4388</Words>
  <Application>Microsoft Office PowerPoint</Application>
  <PresentationFormat>Custom</PresentationFormat>
  <Paragraphs>679</Paragraphs>
  <Slides>88</Slides>
  <Notes>30</Notes>
  <HiddenSlides>0</HiddenSlides>
  <MMClips>0</MMClips>
  <ScaleCrop>false</ScaleCrop>
  <HeadingPairs>
    <vt:vector size="4" baseType="variant">
      <vt:variant>
        <vt:lpstr>Theme</vt:lpstr>
      </vt:variant>
      <vt:variant>
        <vt:i4>1</vt:i4>
      </vt:variant>
      <vt:variant>
        <vt:lpstr>Slide Titles</vt:lpstr>
      </vt:variant>
      <vt:variant>
        <vt:i4>88</vt:i4>
      </vt:variant>
    </vt:vector>
  </HeadingPairs>
  <TitlesOfParts>
    <vt:vector size="89" baseType="lpstr">
      <vt:lpstr>ServiceNow Corp Template</vt:lpstr>
      <vt:lpstr>Hiring Experiences Process Workshop Presentation</vt:lpstr>
      <vt:lpstr>User instructions</vt:lpstr>
      <vt:lpstr>User instructions</vt:lpstr>
      <vt:lpstr>FAQs</vt:lpstr>
      <vt:lpstr>Adding your Logo</vt:lpstr>
      <vt:lpstr>Deleting the PartnerLogo</vt:lpstr>
      <vt:lpstr>Agenda</vt:lpstr>
      <vt:lpstr>Hiring Experiences requirements</vt:lpstr>
      <vt:lpstr>Hiring Experiences requirements</vt:lpstr>
      <vt:lpstr>Hiring Experiences</vt:lpstr>
      <vt:lpstr>Streamline and accelerate hiring with transparent workflows and experience</vt:lpstr>
      <vt:lpstr>Hiring Experiences overview</vt:lpstr>
      <vt:lpstr>Hiring personas</vt:lpstr>
      <vt:lpstr>Hiring roles</vt:lpstr>
      <vt:lpstr>Hiring Core</vt:lpstr>
      <vt:lpstr>ATS integration</vt:lpstr>
      <vt:lpstr>Company job architecture</vt:lpstr>
      <vt:lpstr>Company job architecture </vt:lpstr>
      <vt:lpstr>Purge policies</vt:lpstr>
      <vt:lpstr>Cascade rules for cleaning data</vt:lpstr>
      <vt:lpstr>Manager Hub</vt:lpstr>
      <vt:lpstr>Hiring tab</vt:lpstr>
      <vt:lpstr>Talent Profile</vt:lpstr>
      <vt:lpstr>Talent profile overview</vt:lpstr>
      <vt:lpstr>Talent profile definitions</vt:lpstr>
      <vt:lpstr>Talent profiles</vt:lpstr>
      <vt:lpstr>Job Requisition Management</vt:lpstr>
      <vt:lpstr>Job requisition process</vt:lpstr>
      <vt:lpstr>New job opening request</vt:lpstr>
      <vt:lpstr>Job requisition assignment</vt:lpstr>
      <vt:lpstr>Job description templates</vt:lpstr>
      <vt:lpstr>Job requisition approvals</vt:lpstr>
      <vt:lpstr>Job requisition view</vt:lpstr>
      <vt:lpstr>Job requisition view</vt:lpstr>
      <vt:lpstr>Scheduling windows request</vt:lpstr>
      <vt:lpstr>Applicant scheduling preferences</vt:lpstr>
      <vt:lpstr>Provide interview feedback</vt:lpstr>
      <vt:lpstr>Compare applications</vt:lpstr>
      <vt:lpstr>Compare applications</vt:lpstr>
      <vt:lpstr>Feedback on an application</vt:lpstr>
      <vt:lpstr>Hiring task templates</vt:lpstr>
      <vt:lpstr>Hiring task templates</vt:lpstr>
      <vt:lpstr>Applicant survey</vt:lpstr>
      <vt:lpstr>Close job requisition</vt:lpstr>
      <vt:lpstr>MS Teams integration</vt:lpstr>
      <vt:lpstr>Recruitment Workspace</vt:lpstr>
      <vt:lpstr>Recruitment Workspace homepage</vt:lpstr>
      <vt:lpstr>Job requisition tab</vt:lpstr>
      <vt:lpstr>Job requisition tab</vt:lpstr>
      <vt:lpstr>Talent pool tab</vt:lpstr>
      <vt:lpstr>Navigation menu</vt:lpstr>
      <vt:lpstr>Job requisition list view</vt:lpstr>
      <vt:lpstr>Create new job requisition form</vt:lpstr>
      <vt:lpstr>Job requisitions</vt:lpstr>
      <vt:lpstr>Job requisitions</vt:lpstr>
      <vt:lpstr>Job requisitions</vt:lpstr>
      <vt:lpstr>Talent acquisition dashboard</vt:lpstr>
      <vt:lpstr>Interview Management</vt:lpstr>
      <vt:lpstr>Outlook integration</vt:lpstr>
      <vt:lpstr>Zoom integration</vt:lpstr>
      <vt:lpstr>Scheduling preferences form</vt:lpstr>
      <vt:lpstr>Schedule interview form</vt:lpstr>
      <vt:lpstr>Interview phase templates</vt:lpstr>
      <vt:lpstr>Interview invite email templates</vt:lpstr>
      <vt:lpstr>Interview feedback form</vt:lpstr>
      <vt:lpstr>Applicant Center</vt:lpstr>
      <vt:lpstr>Applicant Center</vt:lpstr>
      <vt:lpstr>Applicant Center</vt:lpstr>
      <vt:lpstr>Applicant Center</vt:lpstr>
      <vt:lpstr>Applicant Center</vt:lpstr>
      <vt:lpstr>Applicant Center</vt:lpstr>
      <vt:lpstr>Applicant Center</vt:lpstr>
      <vt:lpstr>Applicant Center</vt:lpstr>
      <vt:lpstr>Applicant Center</vt:lpstr>
      <vt:lpstr>Applicant Center</vt:lpstr>
      <vt:lpstr>Opportunity Marketplace</vt:lpstr>
      <vt:lpstr>Opportunity Marketplace overview</vt:lpstr>
      <vt:lpstr>Opportunity Marketplace overview</vt:lpstr>
      <vt:lpstr>Internal jobs</vt:lpstr>
      <vt:lpstr>Other opportunities</vt:lpstr>
      <vt:lpstr>Opportunities that you own</vt:lpstr>
      <vt:lpstr>Preferences survey</vt:lpstr>
      <vt:lpstr>Search available opportunities</vt:lpstr>
      <vt:lpstr>Questions?</vt:lpstr>
      <vt:lpstr>Next Steps</vt:lpstr>
      <vt:lpstr>Thank you</vt:lpstr>
      <vt:lpstr>PowerPoint Presentation</vt:lpstr>
      <vt:lpstr>Partner resources</vt:lpstr>
    </vt:vector>
  </TitlesOfParts>
  <Manager/>
  <Company>ServiceNow</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Now Corporate Template</dc:title>
  <dc:subject/>
  <dc:creator>Duarte Inc.</dc:creator>
  <cp:keywords/>
  <dc:description/>
  <cp:lastModifiedBy>Jithin Thomas</cp:lastModifiedBy>
  <cp:revision>4</cp:revision>
  <cp:lastPrinted>2019-06-03T22:01:18Z</cp:lastPrinted>
  <dcterms:created xsi:type="dcterms:W3CDTF">2017-11-01T20:30:48Z</dcterms:created>
  <dcterms:modified xsi:type="dcterms:W3CDTF">2025-12-17T18:27: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11B061FAB3F74D9AABA6A00675F13D</vt:lpwstr>
  </property>
  <property fmtid="{D5CDD505-2E9C-101B-9397-08002B2CF9AE}" pid="3" name="MediaServiceImageTags">
    <vt:lpwstr/>
  </property>
  <property fmtid="{D5CDD505-2E9C-101B-9397-08002B2CF9AE}" pid="4" name="NXPowerLiteLastOptimized">
    <vt:lpwstr>183873491</vt:lpwstr>
  </property>
  <property fmtid="{D5CDD505-2E9C-101B-9397-08002B2CF9AE}" pid="5" name="NXPowerLiteSettings">
    <vt:lpwstr>F90005D002A000</vt:lpwstr>
  </property>
  <property fmtid="{D5CDD505-2E9C-101B-9397-08002B2CF9AE}" pid="6" name="NXPowerLiteVersion">
    <vt:lpwstr>D10.3.0</vt:lpwstr>
  </property>
  <property fmtid="{D5CDD505-2E9C-101B-9397-08002B2CF9AE}" pid="7" name="Meta">
    <vt:lpwstr/>
  </property>
</Properties>
</file>